
<file path=[Content_Types].xml><?xml version="1.0" encoding="utf-8"?>
<Types xmlns="http://schemas.openxmlformats.org/package/2006/content-types">
  <Default Extension="bin" ContentType="image/unknown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259" r:id="rId2"/>
    <p:sldId id="322" r:id="rId3"/>
    <p:sldId id="301" r:id="rId4"/>
    <p:sldId id="300" r:id="rId5"/>
    <p:sldId id="324" r:id="rId6"/>
    <p:sldId id="326" r:id="rId7"/>
    <p:sldId id="316" r:id="rId8"/>
    <p:sldId id="303" r:id="rId9"/>
    <p:sldId id="330" r:id="rId10"/>
    <p:sldId id="293" r:id="rId11"/>
    <p:sldId id="298" r:id="rId12"/>
    <p:sldId id="291" r:id="rId13"/>
    <p:sldId id="321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1AD84"/>
    <a:srgbClr val="8C8C8C"/>
    <a:srgbClr val="4C53B8"/>
    <a:srgbClr val="DD02F8"/>
    <a:srgbClr val="3B4195"/>
    <a:srgbClr val="A802BE"/>
    <a:srgbClr val="F26922"/>
    <a:srgbClr val="1E9E79"/>
    <a:srgbClr val="F79E71"/>
    <a:srgbClr val="2A2B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303" autoAdjust="0"/>
    <p:restoredTop sz="94920" autoAdjust="0"/>
  </p:normalViewPr>
  <p:slideViewPr>
    <p:cSldViewPr snapToGrid="0">
      <p:cViewPr varScale="1">
        <p:scale>
          <a:sx n="69" d="100"/>
          <a:sy n="69" d="100"/>
        </p:scale>
        <p:origin x="630" y="26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80" d="100"/>
          <a:sy n="80" d="100"/>
        </p:scale>
        <p:origin x="3918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55667EA-430E-09C2-E48B-FE07AE39136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356ABC-70FA-35D6-A1CA-BAC35B7A5D1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6B8857-4904-4D84-A12C-0FC2264C6AC5}" type="datetimeFigureOut">
              <a:rPr lang="en-US" smtClean="0"/>
              <a:t>1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C00DCD6-3224-B47F-B1F9-72E7C4F63A0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2963640-E3E0-EBE7-5EE5-2E38E3C4347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18FADC-2C16-4CD9-A69F-619E4550F6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6271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A49E1A-E6E8-40D4-B892-E89E78123C0E}" type="datetimeFigureOut">
              <a:rPr lang="en-US" smtClean="0"/>
              <a:t>1/1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1B2547-2D69-406F-867D-6117DA4A6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57211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0029A3-051C-A012-9317-A81FC85A3A2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D2BCB0F-F917-26BF-178E-319911C5213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2FB0A5-966A-3B56-2E41-2987A8379E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5306E9-55AD-449C-83B5-96629E6CC423}" type="datetime1">
              <a:rPr lang="en-US" smtClean="0"/>
              <a:t>1/1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DB56C8-6401-A16B-8AD1-1B95152085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E0905E-D9BD-C71C-70EB-A2ACE4C92F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BCB46-63A1-4E91-AD39-9DC1D65796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26207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5CFD67E-E188-5BA1-EE58-458275C179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814286" y="1"/>
            <a:ext cx="10377714" cy="6864423"/>
          </a:xfrm>
          <a:custGeom>
            <a:avLst/>
            <a:gdLst>
              <a:gd name="connsiteX0" fmla="*/ 3890218 w 10377714"/>
              <a:gd name="connsiteY0" fmla="*/ 0 h 6864423"/>
              <a:gd name="connsiteX1" fmla="*/ 10377714 w 10377714"/>
              <a:gd name="connsiteY1" fmla="*/ 0 h 6864423"/>
              <a:gd name="connsiteX2" fmla="*/ 10377714 w 10377714"/>
              <a:gd name="connsiteY2" fmla="*/ 6864423 h 6864423"/>
              <a:gd name="connsiteX3" fmla="*/ 10585 w 10377714"/>
              <a:gd name="connsiteY3" fmla="*/ 6864423 h 6864423"/>
              <a:gd name="connsiteX4" fmla="*/ 4534 w 10377714"/>
              <a:gd name="connsiteY4" fmla="*/ 6748629 h 6864423"/>
              <a:gd name="connsiteX5" fmla="*/ 0 w 10377714"/>
              <a:gd name="connsiteY5" fmla="*/ 6487929 h 6864423"/>
              <a:gd name="connsiteX6" fmla="*/ 3848843 w 10377714"/>
              <a:gd name="connsiteY6" fmla="*/ 21193 h 6864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377714" h="6864423">
                <a:moveTo>
                  <a:pt x="3890218" y="0"/>
                </a:moveTo>
                <a:lnTo>
                  <a:pt x="10377714" y="0"/>
                </a:lnTo>
                <a:lnTo>
                  <a:pt x="10377714" y="6864423"/>
                </a:lnTo>
                <a:lnTo>
                  <a:pt x="10585" y="6864423"/>
                </a:lnTo>
                <a:lnTo>
                  <a:pt x="4534" y="6748629"/>
                </a:lnTo>
                <a:cubicBezTo>
                  <a:pt x="1520" y="6662101"/>
                  <a:pt x="0" y="6575193"/>
                  <a:pt x="0" y="6487929"/>
                </a:cubicBezTo>
                <a:cubicBezTo>
                  <a:pt x="0" y="3695507"/>
                  <a:pt x="1556299" y="1266577"/>
                  <a:pt x="3848843" y="21193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F84ADCC8-811F-F427-72EE-7B53F9974F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0319" y="1756271"/>
            <a:ext cx="3538557" cy="2946109"/>
          </a:xfrm>
          <a:custGeom>
            <a:avLst/>
            <a:gdLst>
              <a:gd name="connsiteX0" fmla="*/ 0 w 3538557"/>
              <a:gd name="connsiteY0" fmla="*/ 0 h 2946109"/>
              <a:gd name="connsiteX1" fmla="*/ 3104831 w 3538557"/>
              <a:gd name="connsiteY1" fmla="*/ 1128875 h 2946109"/>
              <a:gd name="connsiteX2" fmla="*/ 3538557 w 3538557"/>
              <a:gd name="connsiteY2" fmla="*/ 2946109 h 2946109"/>
              <a:gd name="connsiteX3" fmla="*/ 225775 w 3538557"/>
              <a:gd name="connsiteY3" fmla="*/ 2678744 h 29461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38557" h="2946109">
                <a:moveTo>
                  <a:pt x="0" y="0"/>
                </a:moveTo>
                <a:lnTo>
                  <a:pt x="3104831" y="1128875"/>
                </a:lnTo>
                <a:lnTo>
                  <a:pt x="3538557" y="2946109"/>
                </a:lnTo>
                <a:lnTo>
                  <a:pt x="225775" y="2678744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841201-6244-4FA1-C9C2-F8DBB5C911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2CC1C6-4AB4-8033-6D7B-88C8FBD338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9C0FA1-58EE-484B-8A46-FE7AEF60211D}" type="datetime1">
              <a:rPr lang="en-US" smtClean="0"/>
              <a:t>1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56E523-A1E0-4F88-505F-391A0665BC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6D5CB2-1DD0-3B82-6CAF-00093584CD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BCB46-63A1-4E91-AD39-9DC1D65796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71410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5D75129-D2D8-2927-FADC-E1F68D489D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5484829" cy="6858000"/>
          </a:xfrm>
          <a:custGeom>
            <a:avLst/>
            <a:gdLst>
              <a:gd name="connsiteX0" fmla="*/ 0 w 5484829"/>
              <a:gd name="connsiteY0" fmla="*/ 0 h 6858000"/>
              <a:gd name="connsiteX1" fmla="*/ 3428771 w 5484829"/>
              <a:gd name="connsiteY1" fmla="*/ 0 h 6858000"/>
              <a:gd name="connsiteX2" fmla="*/ 3450639 w 5484829"/>
              <a:gd name="connsiteY2" fmla="*/ 11201 h 6858000"/>
              <a:gd name="connsiteX3" fmla="*/ 5484829 w 5484829"/>
              <a:gd name="connsiteY3" fmla="*/ 3429000 h 6858000"/>
              <a:gd name="connsiteX4" fmla="*/ 3450639 w 5484829"/>
              <a:gd name="connsiteY4" fmla="*/ 6846800 h 6858000"/>
              <a:gd name="connsiteX5" fmla="*/ 3428771 w 5484829"/>
              <a:gd name="connsiteY5" fmla="*/ 6858000 h 6858000"/>
              <a:gd name="connsiteX6" fmla="*/ 0 w 5484829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84829" h="6858000">
                <a:moveTo>
                  <a:pt x="0" y="0"/>
                </a:moveTo>
                <a:lnTo>
                  <a:pt x="3428771" y="0"/>
                </a:lnTo>
                <a:lnTo>
                  <a:pt x="3450639" y="11201"/>
                </a:lnTo>
                <a:cubicBezTo>
                  <a:pt x="4662294" y="669411"/>
                  <a:pt x="5484829" y="1953149"/>
                  <a:pt x="5484829" y="3429000"/>
                </a:cubicBezTo>
                <a:cubicBezTo>
                  <a:pt x="5484829" y="4904852"/>
                  <a:pt x="4662294" y="6188590"/>
                  <a:pt x="3450639" y="6846800"/>
                </a:cubicBezTo>
                <a:lnTo>
                  <a:pt x="3428771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841201-6244-4FA1-C9C2-F8DBB5C911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2CC1C6-4AB4-8033-6D7B-88C8FBD338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9C0FA1-58EE-484B-8A46-FE7AEF60211D}" type="datetime1">
              <a:rPr lang="en-US" smtClean="0"/>
              <a:t>1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56E523-A1E0-4F88-505F-391A0665BC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6D5CB2-1DD0-3B82-6CAF-00093584CD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BCB46-63A1-4E91-AD39-9DC1D657961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5F8C466-9FD9-D455-8553-1485DA5A5F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475970" y="1352153"/>
            <a:ext cx="1940125" cy="4153695"/>
          </a:xfrm>
          <a:custGeom>
            <a:avLst/>
            <a:gdLst>
              <a:gd name="connsiteX0" fmla="*/ 368928 w 1940125"/>
              <a:gd name="connsiteY0" fmla="*/ 0 h 4153695"/>
              <a:gd name="connsiteX1" fmla="*/ 1512719 w 1940125"/>
              <a:gd name="connsiteY1" fmla="*/ 0 h 4153695"/>
              <a:gd name="connsiteX2" fmla="*/ 1404565 w 1940125"/>
              <a:gd name="connsiteY2" fmla="*/ 962 h 4153695"/>
              <a:gd name="connsiteX3" fmla="*/ 1363065 w 1940125"/>
              <a:gd name="connsiteY3" fmla="*/ 385 h 4153695"/>
              <a:gd name="connsiteX4" fmla="*/ 571941 w 1940125"/>
              <a:gd name="connsiteY4" fmla="*/ 385 h 4153695"/>
              <a:gd name="connsiteX5" fmla="*/ 530440 w 1940125"/>
              <a:gd name="connsiteY5" fmla="*/ 962 h 4153695"/>
              <a:gd name="connsiteX6" fmla="*/ 427676 w 1940125"/>
              <a:gd name="connsiteY6" fmla="*/ 1154 h 4153695"/>
              <a:gd name="connsiteX7" fmla="*/ 447079 w 1940125"/>
              <a:gd name="connsiteY7" fmla="*/ 22499 h 4153695"/>
              <a:gd name="connsiteX8" fmla="*/ 453816 w 1940125"/>
              <a:gd name="connsiteY8" fmla="*/ 51729 h 4153695"/>
              <a:gd name="connsiteX9" fmla="*/ 453187 w 1940125"/>
              <a:gd name="connsiteY9" fmla="*/ 77882 h 4153695"/>
              <a:gd name="connsiteX10" fmla="*/ 457948 w 1940125"/>
              <a:gd name="connsiteY10" fmla="*/ 104227 h 4153695"/>
              <a:gd name="connsiteX11" fmla="*/ 504031 w 1940125"/>
              <a:gd name="connsiteY11" fmla="*/ 150380 h 4153695"/>
              <a:gd name="connsiteX12" fmla="*/ 530440 w 1940125"/>
              <a:gd name="connsiteY12" fmla="*/ 154418 h 4153695"/>
              <a:gd name="connsiteX13" fmla="*/ 571941 w 1940125"/>
              <a:gd name="connsiteY13" fmla="*/ 154995 h 4153695"/>
              <a:gd name="connsiteX14" fmla="*/ 1363065 w 1940125"/>
              <a:gd name="connsiteY14" fmla="*/ 154995 h 4153695"/>
              <a:gd name="connsiteX15" fmla="*/ 1404565 w 1940125"/>
              <a:gd name="connsiteY15" fmla="*/ 154418 h 4153695"/>
              <a:gd name="connsiteX16" fmla="*/ 1430526 w 1940125"/>
              <a:gd name="connsiteY16" fmla="*/ 150380 h 4153695"/>
              <a:gd name="connsiteX17" fmla="*/ 1476968 w 1940125"/>
              <a:gd name="connsiteY17" fmla="*/ 104227 h 4153695"/>
              <a:gd name="connsiteX18" fmla="*/ 1481728 w 1940125"/>
              <a:gd name="connsiteY18" fmla="*/ 77882 h 4153695"/>
              <a:gd name="connsiteX19" fmla="*/ 1484333 w 1940125"/>
              <a:gd name="connsiteY19" fmla="*/ 51729 h 4153695"/>
              <a:gd name="connsiteX20" fmla="*/ 1488915 w 1940125"/>
              <a:gd name="connsiteY20" fmla="*/ 20961 h 4153695"/>
              <a:gd name="connsiteX21" fmla="*/ 1512719 w 1940125"/>
              <a:gd name="connsiteY21" fmla="*/ 0 h 4153695"/>
              <a:gd name="connsiteX22" fmla="*/ 1571198 w 1940125"/>
              <a:gd name="connsiteY22" fmla="*/ 0 h 4153695"/>
              <a:gd name="connsiteX23" fmla="*/ 1787686 w 1940125"/>
              <a:gd name="connsiteY23" fmla="*/ 18077 h 4153695"/>
              <a:gd name="connsiteX24" fmla="*/ 1922070 w 1940125"/>
              <a:gd name="connsiteY24" fmla="*/ 152495 h 4153695"/>
              <a:gd name="connsiteX25" fmla="*/ 1940125 w 1940125"/>
              <a:gd name="connsiteY25" fmla="*/ 368833 h 4153695"/>
              <a:gd name="connsiteX26" fmla="*/ 1940125 w 1940125"/>
              <a:gd name="connsiteY26" fmla="*/ 3785055 h 4153695"/>
              <a:gd name="connsiteX27" fmla="*/ 1922070 w 1940125"/>
              <a:gd name="connsiteY27" fmla="*/ 4001585 h 4153695"/>
              <a:gd name="connsiteX28" fmla="*/ 1787686 w 1940125"/>
              <a:gd name="connsiteY28" fmla="*/ 4135619 h 4153695"/>
              <a:gd name="connsiteX29" fmla="*/ 1571198 w 1940125"/>
              <a:gd name="connsiteY29" fmla="*/ 4153695 h 4153695"/>
              <a:gd name="connsiteX30" fmla="*/ 368928 w 1940125"/>
              <a:gd name="connsiteY30" fmla="*/ 4153695 h 4153695"/>
              <a:gd name="connsiteX31" fmla="*/ 152440 w 1940125"/>
              <a:gd name="connsiteY31" fmla="*/ 4135619 h 4153695"/>
              <a:gd name="connsiteX32" fmla="*/ 18056 w 1940125"/>
              <a:gd name="connsiteY32" fmla="*/ 4001585 h 4153695"/>
              <a:gd name="connsiteX33" fmla="*/ 1 w 1940125"/>
              <a:gd name="connsiteY33" fmla="*/ 3785055 h 4153695"/>
              <a:gd name="connsiteX34" fmla="*/ 1 w 1940125"/>
              <a:gd name="connsiteY34" fmla="*/ 368833 h 4153695"/>
              <a:gd name="connsiteX35" fmla="*/ 18056 w 1940125"/>
              <a:gd name="connsiteY35" fmla="*/ 152495 h 4153695"/>
              <a:gd name="connsiteX36" fmla="*/ 152440 w 1940125"/>
              <a:gd name="connsiteY36" fmla="*/ 18077 h 4153695"/>
              <a:gd name="connsiteX37" fmla="*/ 368928 w 1940125"/>
              <a:gd name="connsiteY37" fmla="*/ 0 h 4153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940125" h="4153695">
                <a:moveTo>
                  <a:pt x="368928" y="0"/>
                </a:moveTo>
                <a:lnTo>
                  <a:pt x="1512719" y="0"/>
                </a:lnTo>
                <a:cubicBezTo>
                  <a:pt x="1476698" y="770"/>
                  <a:pt x="1440587" y="1154"/>
                  <a:pt x="1404565" y="962"/>
                </a:cubicBezTo>
                <a:cubicBezTo>
                  <a:pt x="1390732" y="770"/>
                  <a:pt x="1376808" y="577"/>
                  <a:pt x="1363065" y="385"/>
                </a:cubicBezTo>
                <a:lnTo>
                  <a:pt x="571941" y="385"/>
                </a:lnTo>
                <a:cubicBezTo>
                  <a:pt x="558108" y="577"/>
                  <a:pt x="544184" y="770"/>
                  <a:pt x="530440" y="962"/>
                </a:cubicBezTo>
                <a:cubicBezTo>
                  <a:pt x="496126" y="1347"/>
                  <a:pt x="461901" y="1154"/>
                  <a:pt x="427676" y="1154"/>
                </a:cubicBezTo>
                <a:cubicBezTo>
                  <a:pt x="436120" y="6346"/>
                  <a:pt x="442767" y="13846"/>
                  <a:pt x="447079" y="22499"/>
                </a:cubicBezTo>
                <a:cubicBezTo>
                  <a:pt x="451571" y="31345"/>
                  <a:pt x="453547" y="41537"/>
                  <a:pt x="453816" y="51729"/>
                </a:cubicBezTo>
                <a:cubicBezTo>
                  <a:pt x="454086" y="60383"/>
                  <a:pt x="453008" y="69229"/>
                  <a:pt x="453187" y="77882"/>
                </a:cubicBezTo>
                <a:cubicBezTo>
                  <a:pt x="453457" y="86920"/>
                  <a:pt x="454984" y="95766"/>
                  <a:pt x="457948" y="104227"/>
                </a:cubicBezTo>
                <a:cubicBezTo>
                  <a:pt x="465674" y="125957"/>
                  <a:pt x="482382" y="142688"/>
                  <a:pt x="504031" y="150380"/>
                </a:cubicBezTo>
                <a:cubicBezTo>
                  <a:pt x="510768" y="152687"/>
                  <a:pt x="519481" y="153841"/>
                  <a:pt x="530440" y="154418"/>
                </a:cubicBezTo>
                <a:cubicBezTo>
                  <a:pt x="541399" y="154995"/>
                  <a:pt x="555053" y="154995"/>
                  <a:pt x="571941" y="154995"/>
                </a:cubicBezTo>
                <a:lnTo>
                  <a:pt x="1363065" y="154995"/>
                </a:lnTo>
                <a:cubicBezTo>
                  <a:pt x="1379952" y="154995"/>
                  <a:pt x="1393606" y="154995"/>
                  <a:pt x="1404565" y="154418"/>
                </a:cubicBezTo>
                <a:cubicBezTo>
                  <a:pt x="1415525" y="153841"/>
                  <a:pt x="1423789" y="152687"/>
                  <a:pt x="1430526" y="150380"/>
                </a:cubicBezTo>
                <a:cubicBezTo>
                  <a:pt x="1452624" y="143649"/>
                  <a:pt x="1470141" y="126342"/>
                  <a:pt x="1476968" y="104227"/>
                </a:cubicBezTo>
                <a:cubicBezTo>
                  <a:pt x="1479662" y="95766"/>
                  <a:pt x="1480651" y="86728"/>
                  <a:pt x="1481728" y="77882"/>
                </a:cubicBezTo>
                <a:cubicBezTo>
                  <a:pt x="1482806" y="69229"/>
                  <a:pt x="1483795" y="60383"/>
                  <a:pt x="1484333" y="51729"/>
                </a:cubicBezTo>
                <a:cubicBezTo>
                  <a:pt x="1485052" y="41153"/>
                  <a:pt x="1485052" y="30384"/>
                  <a:pt x="1488915" y="20961"/>
                </a:cubicBezTo>
                <a:cubicBezTo>
                  <a:pt x="1493227" y="10962"/>
                  <a:pt x="1501850" y="3077"/>
                  <a:pt x="1512719" y="0"/>
                </a:cubicBezTo>
                <a:lnTo>
                  <a:pt x="1571198" y="0"/>
                </a:lnTo>
                <a:cubicBezTo>
                  <a:pt x="1679532" y="0"/>
                  <a:pt x="1744298" y="0"/>
                  <a:pt x="1787686" y="18077"/>
                </a:cubicBezTo>
                <a:cubicBezTo>
                  <a:pt x="1850117" y="40768"/>
                  <a:pt x="1899343" y="89997"/>
                  <a:pt x="1922070" y="152495"/>
                </a:cubicBezTo>
                <a:cubicBezTo>
                  <a:pt x="1940215" y="195763"/>
                  <a:pt x="1940125" y="260568"/>
                  <a:pt x="1940125" y="368833"/>
                </a:cubicBezTo>
                <a:lnTo>
                  <a:pt x="1940125" y="3785055"/>
                </a:lnTo>
                <a:cubicBezTo>
                  <a:pt x="1940125" y="3893320"/>
                  <a:pt x="1940215" y="3958125"/>
                  <a:pt x="1922070" y="4001585"/>
                </a:cubicBezTo>
                <a:cubicBezTo>
                  <a:pt x="1899343" y="4063891"/>
                  <a:pt x="1850117" y="4112927"/>
                  <a:pt x="1787686" y="4135619"/>
                </a:cubicBezTo>
                <a:cubicBezTo>
                  <a:pt x="1744298" y="4153695"/>
                  <a:pt x="1679532" y="4153695"/>
                  <a:pt x="1571198" y="4153695"/>
                </a:cubicBezTo>
                <a:lnTo>
                  <a:pt x="368928" y="4153695"/>
                </a:lnTo>
                <a:cubicBezTo>
                  <a:pt x="260594" y="4153695"/>
                  <a:pt x="195828" y="4153695"/>
                  <a:pt x="152440" y="4135619"/>
                </a:cubicBezTo>
                <a:cubicBezTo>
                  <a:pt x="90009" y="4112927"/>
                  <a:pt x="40783" y="4063891"/>
                  <a:pt x="18056" y="4001585"/>
                </a:cubicBezTo>
                <a:cubicBezTo>
                  <a:pt x="-89" y="3958125"/>
                  <a:pt x="1" y="3893320"/>
                  <a:pt x="1" y="3785055"/>
                </a:cubicBezTo>
                <a:lnTo>
                  <a:pt x="1" y="368833"/>
                </a:lnTo>
                <a:cubicBezTo>
                  <a:pt x="1" y="260568"/>
                  <a:pt x="-89" y="195763"/>
                  <a:pt x="18056" y="152495"/>
                </a:cubicBezTo>
                <a:cubicBezTo>
                  <a:pt x="40783" y="89997"/>
                  <a:pt x="90009" y="40768"/>
                  <a:pt x="152440" y="18077"/>
                </a:cubicBezTo>
                <a:cubicBezTo>
                  <a:pt x="195828" y="0"/>
                  <a:pt x="260594" y="0"/>
                  <a:pt x="36892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88060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B7CD4F9-2687-1B2D-C637-407D34C32D4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70639" y="2040088"/>
            <a:ext cx="3650722" cy="3650722"/>
          </a:xfrm>
          <a:custGeom>
            <a:avLst/>
            <a:gdLst>
              <a:gd name="connsiteX0" fmla="*/ 1825361 w 3650722"/>
              <a:gd name="connsiteY0" fmla="*/ 0 h 3650722"/>
              <a:gd name="connsiteX1" fmla="*/ 3650722 w 3650722"/>
              <a:gd name="connsiteY1" fmla="*/ 1825361 h 3650722"/>
              <a:gd name="connsiteX2" fmla="*/ 1825361 w 3650722"/>
              <a:gd name="connsiteY2" fmla="*/ 3650722 h 3650722"/>
              <a:gd name="connsiteX3" fmla="*/ 0 w 3650722"/>
              <a:gd name="connsiteY3" fmla="*/ 1825361 h 3650722"/>
              <a:gd name="connsiteX4" fmla="*/ 1825361 w 3650722"/>
              <a:gd name="connsiteY4" fmla="*/ 0 h 3650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50722" h="3650722">
                <a:moveTo>
                  <a:pt x="1825361" y="0"/>
                </a:moveTo>
                <a:cubicBezTo>
                  <a:pt x="2833480" y="0"/>
                  <a:pt x="3650722" y="817242"/>
                  <a:pt x="3650722" y="1825361"/>
                </a:cubicBezTo>
                <a:cubicBezTo>
                  <a:pt x="3650722" y="2833480"/>
                  <a:pt x="2833480" y="3650722"/>
                  <a:pt x="1825361" y="3650722"/>
                </a:cubicBezTo>
                <a:cubicBezTo>
                  <a:pt x="817242" y="3650722"/>
                  <a:pt x="0" y="2833480"/>
                  <a:pt x="0" y="1825361"/>
                </a:cubicBezTo>
                <a:cubicBezTo>
                  <a:pt x="0" y="817242"/>
                  <a:pt x="817242" y="0"/>
                  <a:pt x="182536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841201-6244-4FA1-C9C2-F8DBB5C911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2CC1C6-4AB4-8033-6D7B-88C8FBD338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9C0FA1-58EE-484B-8A46-FE7AEF60211D}" type="datetime1">
              <a:rPr lang="en-US" smtClean="0"/>
              <a:t>1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56E523-A1E0-4F88-505F-391A0665BC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6D5CB2-1DD0-3B82-6CAF-00093584CD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BCB46-63A1-4E91-AD39-9DC1D65796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78637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035FFD1E-5142-904F-CDFF-9A82A2E34AF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56220" y="840386"/>
            <a:ext cx="3335780" cy="5673437"/>
          </a:xfrm>
          <a:custGeom>
            <a:avLst/>
            <a:gdLst>
              <a:gd name="connsiteX0" fmla="*/ 267806 w 3335780"/>
              <a:gd name="connsiteY0" fmla="*/ 0 h 5673437"/>
              <a:gd name="connsiteX1" fmla="*/ 3335780 w 3335780"/>
              <a:gd name="connsiteY1" fmla="*/ 0 h 5673437"/>
              <a:gd name="connsiteX2" fmla="*/ 3335780 w 3335780"/>
              <a:gd name="connsiteY2" fmla="*/ 5673437 h 5673437"/>
              <a:gd name="connsiteX3" fmla="*/ 267806 w 3335780"/>
              <a:gd name="connsiteY3" fmla="*/ 5673437 h 5673437"/>
              <a:gd name="connsiteX4" fmla="*/ 0 w 3335780"/>
              <a:gd name="connsiteY4" fmla="*/ 5405631 h 5673437"/>
              <a:gd name="connsiteX5" fmla="*/ 0 w 3335780"/>
              <a:gd name="connsiteY5" fmla="*/ 267806 h 5673437"/>
              <a:gd name="connsiteX6" fmla="*/ 267806 w 3335780"/>
              <a:gd name="connsiteY6" fmla="*/ 0 h 5673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35780" h="5673437">
                <a:moveTo>
                  <a:pt x="267806" y="0"/>
                </a:moveTo>
                <a:lnTo>
                  <a:pt x="3335780" y="0"/>
                </a:lnTo>
                <a:lnTo>
                  <a:pt x="3335780" y="5673437"/>
                </a:lnTo>
                <a:lnTo>
                  <a:pt x="267806" y="5673437"/>
                </a:lnTo>
                <a:cubicBezTo>
                  <a:pt x="119901" y="5673437"/>
                  <a:pt x="0" y="5553536"/>
                  <a:pt x="0" y="5405631"/>
                </a:cubicBezTo>
                <a:lnTo>
                  <a:pt x="0" y="267806"/>
                </a:lnTo>
                <a:cubicBezTo>
                  <a:pt x="0" y="119901"/>
                  <a:pt x="119901" y="0"/>
                  <a:pt x="267806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3C92BBA-396B-6707-FE2E-DD218BE121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840386"/>
            <a:ext cx="3194045" cy="5673437"/>
          </a:xfrm>
          <a:custGeom>
            <a:avLst/>
            <a:gdLst>
              <a:gd name="connsiteX0" fmla="*/ 0 w 3194045"/>
              <a:gd name="connsiteY0" fmla="*/ 0 h 5673437"/>
              <a:gd name="connsiteX1" fmla="*/ 2870190 w 3194045"/>
              <a:gd name="connsiteY1" fmla="*/ 0 h 5673437"/>
              <a:gd name="connsiteX2" fmla="*/ 3194045 w 3194045"/>
              <a:gd name="connsiteY2" fmla="*/ 323855 h 5673437"/>
              <a:gd name="connsiteX3" fmla="*/ 3194045 w 3194045"/>
              <a:gd name="connsiteY3" fmla="*/ 5349582 h 5673437"/>
              <a:gd name="connsiteX4" fmla="*/ 2870190 w 3194045"/>
              <a:gd name="connsiteY4" fmla="*/ 5673437 h 5673437"/>
              <a:gd name="connsiteX5" fmla="*/ 0 w 3194045"/>
              <a:gd name="connsiteY5" fmla="*/ 5673437 h 5673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94045" h="5673437">
                <a:moveTo>
                  <a:pt x="0" y="0"/>
                </a:moveTo>
                <a:lnTo>
                  <a:pt x="2870190" y="0"/>
                </a:lnTo>
                <a:cubicBezTo>
                  <a:pt x="3049050" y="0"/>
                  <a:pt x="3194045" y="144995"/>
                  <a:pt x="3194045" y="323855"/>
                </a:cubicBezTo>
                <a:lnTo>
                  <a:pt x="3194045" y="5349582"/>
                </a:lnTo>
                <a:cubicBezTo>
                  <a:pt x="3194045" y="5528442"/>
                  <a:pt x="3049050" y="5673437"/>
                  <a:pt x="2870190" y="5673437"/>
                </a:cubicBezTo>
                <a:lnTo>
                  <a:pt x="0" y="567343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841201-6244-4FA1-C9C2-F8DBB5C911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0" y="923850"/>
            <a:ext cx="3810000" cy="127325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2CC1C6-4AB4-8033-6D7B-88C8FBD338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9C0FA1-58EE-484B-8A46-FE7AEF60211D}" type="datetime1">
              <a:rPr lang="en-US" smtClean="0"/>
              <a:t>1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56E523-A1E0-4F88-505F-391A0665BC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6D5CB2-1DD0-3B82-6CAF-00093584CD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BCB46-63A1-4E91-AD39-9DC1D65796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13192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B88A491-6A63-0027-C8D2-63B5D3A0771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534200" y="1599183"/>
            <a:ext cx="3114002" cy="3114002"/>
          </a:xfrm>
          <a:custGeom>
            <a:avLst/>
            <a:gdLst>
              <a:gd name="connsiteX0" fmla="*/ 1557001 w 3114002"/>
              <a:gd name="connsiteY0" fmla="*/ 0 h 3114002"/>
              <a:gd name="connsiteX1" fmla="*/ 3114002 w 3114002"/>
              <a:gd name="connsiteY1" fmla="*/ 1557001 h 3114002"/>
              <a:gd name="connsiteX2" fmla="*/ 1557001 w 3114002"/>
              <a:gd name="connsiteY2" fmla="*/ 3114002 h 3114002"/>
              <a:gd name="connsiteX3" fmla="*/ 0 w 3114002"/>
              <a:gd name="connsiteY3" fmla="*/ 1557001 h 3114002"/>
              <a:gd name="connsiteX4" fmla="*/ 1557001 w 3114002"/>
              <a:gd name="connsiteY4" fmla="*/ 0 h 3114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14002" h="3114002">
                <a:moveTo>
                  <a:pt x="1557001" y="0"/>
                </a:moveTo>
                <a:cubicBezTo>
                  <a:pt x="2416909" y="0"/>
                  <a:pt x="3114002" y="697093"/>
                  <a:pt x="3114002" y="1557001"/>
                </a:cubicBezTo>
                <a:cubicBezTo>
                  <a:pt x="3114002" y="2416909"/>
                  <a:pt x="2416909" y="3114002"/>
                  <a:pt x="1557001" y="3114002"/>
                </a:cubicBezTo>
                <a:cubicBezTo>
                  <a:pt x="697093" y="3114002"/>
                  <a:pt x="0" y="2416909"/>
                  <a:pt x="0" y="1557001"/>
                </a:cubicBezTo>
                <a:cubicBezTo>
                  <a:pt x="0" y="697093"/>
                  <a:pt x="697093" y="0"/>
                  <a:pt x="155700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841201-6244-4FA1-C9C2-F8DBB5C911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2CC1C6-4AB4-8033-6D7B-88C8FBD338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9C0FA1-58EE-484B-8A46-FE7AEF60211D}" type="datetime1">
              <a:rPr lang="en-US" smtClean="0"/>
              <a:t>1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56E523-A1E0-4F88-505F-391A0665BC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6D5CB2-1DD0-3B82-6CAF-00093584CD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BCB46-63A1-4E91-AD39-9DC1D65796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1834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7183266D-9A33-6B21-8D13-9F802ECFB23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752242" y="3721101"/>
            <a:ext cx="2656241" cy="2578102"/>
          </a:xfrm>
          <a:custGeom>
            <a:avLst/>
            <a:gdLst>
              <a:gd name="connsiteX0" fmla="*/ 0 w 2656241"/>
              <a:gd name="connsiteY0" fmla="*/ 0 h 2578102"/>
              <a:gd name="connsiteX1" fmla="*/ 2656241 w 2656241"/>
              <a:gd name="connsiteY1" fmla="*/ 0 h 2578102"/>
              <a:gd name="connsiteX2" fmla="*/ 2656241 w 2656241"/>
              <a:gd name="connsiteY2" fmla="*/ 2368812 h 2578102"/>
              <a:gd name="connsiteX3" fmla="*/ 2446951 w 2656241"/>
              <a:gd name="connsiteY3" fmla="*/ 2578102 h 2578102"/>
              <a:gd name="connsiteX4" fmla="*/ 0 w 2656241"/>
              <a:gd name="connsiteY4" fmla="*/ 2578102 h 2578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56241" h="2578102">
                <a:moveTo>
                  <a:pt x="0" y="0"/>
                </a:moveTo>
                <a:lnTo>
                  <a:pt x="2656241" y="0"/>
                </a:lnTo>
                <a:lnTo>
                  <a:pt x="2656241" y="2368812"/>
                </a:lnTo>
                <a:cubicBezTo>
                  <a:pt x="2656241" y="2484400"/>
                  <a:pt x="2562539" y="2578102"/>
                  <a:pt x="2446951" y="2578102"/>
                </a:cubicBezTo>
                <a:lnTo>
                  <a:pt x="0" y="257810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C90140A-A4BB-3FDA-2CDF-8B235384FD2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5999" y="1143001"/>
            <a:ext cx="2656241" cy="2588261"/>
          </a:xfrm>
          <a:custGeom>
            <a:avLst/>
            <a:gdLst>
              <a:gd name="connsiteX0" fmla="*/ 0 w 2656241"/>
              <a:gd name="connsiteY0" fmla="*/ 0 h 2588261"/>
              <a:gd name="connsiteX1" fmla="*/ 2656241 w 2656241"/>
              <a:gd name="connsiteY1" fmla="*/ 0 h 2588261"/>
              <a:gd name="connsiteX2" fmla="*/ 2656241 w 2656241"/>
              <a:gd name="connsiteY2" fmla="*/ 2588261 h 2588261"/>
              <a:gd name="connsiteX3" fmla="*/ 0 w 2656241"/>
              <a:gd name="connsiteY3" fmla="*/ 2588261 h 2588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56241" h="2588261">
                <a:moveTo>
                  <a:pt x="0" y="0"/>
                </a:moveTo>
                <a:lnTo>
                  <a:pt x="2656241" y="0"/>
                </a:lnTo>
                <a:lnTo>
                  <a:pt x="2656241" y="2588261"/>
                </a:lnTo>
                <a:lnTo>
                  <a:pt x="0" y="258826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D4222DC-C42D-9C2E-2EC5-2F1A51D2B1F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83519" y="1143003"/>
            <a:ext cx="2656241" cy="2578100"/>
          </a:xfrm>
          <a:custGeom>
            <a:avLst/>
            <a:gdLst>
              <a:gd name="connsiteX0" fmla="*/ 233782 w 2656241"/>
              <a:gd name="connsiteY0" fmla="*/ 0 h 2578100"/>
              <a:gd name="connsiteX1" fmla="*/ 2656241 w 2656241"/>
              <a:gd name="connsiteY1" fmla="*/ 0 h 2578100"/>
              <a:gd name="connsiteX2" fmla="*/ 2656241 w 2656241"/>
              <a:gd name="connsiteY2" fmla="*/ 2578100 h 2578100"/>
              <a:gd name="connsiteX3" fmla="*/ 0 w 2656241"/>
              <a:gd name="connsiteY3" fmla="*/ 2578100 h 2578100"/>
              <a:gd name="connsiteX4" fmla="*/ 0 w 2656241"/>
              <a:gd name="connsiteY4" fmla="*/ 233782 h 2578100"/>
              <a:gd name="connsiteX5" fmla="*/ 233782 w 2656241"/>
              <a:gd name="connsiteY5" fmla="*/ 0 h 2578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56241" h="2578100">
                <a:moveTo>
                  <a:pt x="233782" y="0"/>
                </a:moveTo>
                <a:lnTo>
                  <a:pt x="2656241" y="0"/>
                </a:lnTo>
                <a:lnTo>
                  <a:pt x="2656241" y="2578100"/>
                </a:lnTo>
                <a:lnTo>
                  <a:pt x="0" y="2578100"/>
                </a:lnTo>
                <a:lnTo>
                  <a:pt x="0" y="233782"/>
                </a:lnTo>
                <a:cubicBezTo>
                  <a:pt x="0" y="104668"/>
                  <a:pt x="104668" y="0"/>
                  <a:pt x="23378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841201-6244-4FA1-C9C2-F8DBB5C911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901447"/>
            <a:ext cx="10515600" cy="80100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2CC1C6-4AB4-8033-6D7B-88C8FBD338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9C0FA1-58EE-484B-8A46-FE7AEF60211D}" type="datetime1">
              <a:rPr lang="en-US" smtClean="0"/>
              <a:t>1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56E523-A1E0-4F88-505F-391A0665BC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6D5CB2-1DD0-3B82-6CAF-00093584CD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BCB46-63A1-4E91-AD39-9DC1D65796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21735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55D0F198-CD40-F575-83AC-BAC88DD86E0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533585" y="2568669"/>
            <a:ext cx="1067354" cy="1067354"/>
          </a:xfrm>
          <a:custGeom>
            <a:avLst/>
            <a:gdLst>
              <a:gd name="connsiteX0" fmla="*/ 533677 w 1067354"/>
              <a:gd name="connsiteY0" fmla="*/ 0 h 1067354"/>
              <a:gd name="connsiteX1" fmla="*/ 1067354 w 1067354"/>
              <a:gd name="connsiteY1" fmla="*/ 533677 h 1067354"/>
              <a:gd name="connsiteX2" fmla="*/ 533677 w 1067354"/>
              <a:gd name="connsiteY2" fmla="*/ 1067354 h 1067354"/>
              <a:gd name="connsiteX3" fmla="*/ 0 w 1067354"/>
              <a:gd name="connsiteY3" fmla="*/ 533677 h 1067354"/>
              <a:gd name="connsiteX4" fmla="*/ 533677 w 1067354"/>
              <a:gd name="connsiteY4" fmla="*/ 0 h 1067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7354" h="1067354">
                <a:moveTo>
                  <a:pt x="533677" y="0"/>
                </a:moveTo>
                <a:cubicBezTo>
                  <a:pt x="828419" y="0"/>
                  <a:pt x="1067354" y="238935"/>
                  <a:pt x="1067354" y="533677"/>
                </a:cubicBezTo>
                <a:cubicBezTo>
                  <a:pt x="1067354" y="828419"/>
                  <a:pt x="828419" y="1067354"/>
                  <a:pt x="533677" y="1067354"/>
                </a:cubicBezTo>
                <a:cubicBezTo>
                  <a:pt x="238935" y="1067354"/>
                  <a:pt x="0" y="828419"/>
                  <a:pt x="0" y="533677"/>
                </a:cubicBezTo>
                <a:cubicBezTo>
                  <a:pt x="0" y="238935"/>
                  <a:pt x="238935" y="0"/>
                  <a:pt x="53367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  <a:latin typeface="Poppins" panose="00000500000000000000" pitchFamily="50" charset="0"/>
                <a:cs typeface="Poppins" panose="00000500000000000000" pitchFamily="50" charset="0"/>
              </a:defRPr>
            </a:lvl1pPr>
          </a:lstStyle>
          <a:p>
            <a:pPr marL="0" lvl="0" algn="ctr"/>
            <a:endParaRPr lang="en-US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422F1BF4-1481-9858-7AA8-C232FDF4D4B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62325" y="2568669"/>
            <a:ext cx="1067354" cy="1067354"/>
          </a:xfrm>
          <a:custGeom>
            <a:avLst/>
            <a:gdLst>
              <a:gd name="connsiteX0" fmla="*/ 533677 w 1067354"/>
              <a:gd name="connsiteY0" fmla="*/ 0 h 1067354"/>
              <a:gd name="connsiteX1" fmla="*/ 1067354 w 1067354"/>
              <a:gd name="connsiteY1" fmla="*/ 533677 h 1067354"/>
              <a:gd name="connsiteX2" fmla="*/ 533677 w 1067354"/>
              <a:gd name="connsiteY2" fmla="*/ 1067354 h 1067354"/>
              <a:gd name="connsiteX3" fmla="*/ 0 w 1067354"/>
              <a:gd name="connsiteY3" fmla="*/ 533677 h 1067354"/>
              <a:gd name="connsiteX4" fmla="*/ 533677 w 1067354"/>
              <a:gd name="connsiteY4" fmla="*/ 0 h 1067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7354" h="1067354">
                <a:moveTo>
                  <a:pt x="533677" y="0"/>
                </a:moveTo>
                <a:cubicBezTo>
                  <a:pt x="828419" y="0"/>
                  <a:pt x="1067354" y="238935"/>
                  <a:pt x="1067354" y="533677"/>
                </a:cubicBezTo>
                <a:cubicBezTo>
                  <a:pt x="1067354" y="828419"/>
                  <a:pt x="828419" y="1067354"/>
                  <a:pt x="533677" y="1067354"/>
                </a:cubicBezTo>
                <a:cubicBezTo>
                  <a:pt x="238935" y="1067354"/>
                  <a:pt x="0" y="828419"/>
                  <a:pt x="0" y="533677"/>
                </a:cubicBezTo>
                <a:cubicBezTo>
                  <a:pt x="0" y="238935"/>
                  <a:pt x="238935" y="0"/>
                  <a:pt x="53367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  <a:latin typeface="Poppins" panose="00000500000000000000" pitchFamily="50" charset="0"/>
                <a:cs typeface="Poppins" panose="00000500000000000000" pitchFamily="50" charset="0"/>
              </a:defRPr>
            </a:lvl1pPr>
          </a:lstStyle>
          <a:p>
            <a:pPr marL="0" lvl="0" algn="ctr"/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938AB52B-C13D-BCE0-B38D-548F637F0A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591064" y="2568669"/>
            <a:ext cx="1067354" cy="1067354"/>
          </a:xfrm>
          <a:custGeom>
            <a:avLst/>
            <a:gdLst>
              <a:gd name="connsiteX0" fmla="*/ 533677 w 1067354"/>
              <a:gd name="connsiteY0" fmla="*/ 0 h 1067354"/>
              <a:gd name="connsiteX1" fmla="*/ 1067354 w 1067354"/>
              <a:gd name="connsiteY1" fmla="*/ 533677 h 1067354"/>
              <a:gd name="connsiteX2" fmla="*/ 533677 w 1067354"/>
              <a:gd name="connsiteY2" fmla="*/ 1067354 h 1067354"/>
              <a:gd name="connsiteX3" fmla="*/ 0 w 1067354"/>
              <a:gd name="connsiteY3" fmla="*/ 533677 h 1067354"/>
              <a:gd name="connsiteX4" fmla="*/ 533677 w 1067354"/>
              <a:gd name="connsiteY4" fmla="*/ 0 h 1067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7354" h="1067354">
                <a:moveTo>
                  <a:pt x="533677" y="0"/>
                </a:moveTo>
                <a:cubicBezTo>
                  <a:pt x="828419" y="0"/>
                  <a:pt x="1067354" y="238935"/>
                  <a:pt x="1067354" y="533677"/>
                </a:cubicBezTo>
                <a:cubicBezTo>
                  <a:pt x="1067354" y="828419"/>
                  <a:pt x="828419" y="1067354"/>
                  <a:pt x="533677" y="1067354"/>
                </a:cubicBezTo>
                <a:cubicBezTo>
                  <a:pt x="238935" y="1067354"/>
                  <a:pt x="0" y="828419"/>
                  <a:pt x="0" y="533677"/>
                </a:cubicBezTo>
                <a:cubicBezTo>
                  <a:pt x="0" y="238935"/>
                  <a:pt x="238935" y="0"/>
                  <a:pt x="53367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  <a:latin typeface="Poppins" panose="00000500000000000000" pitchFamily="50" charset="0"/>
                <a:cs typeface="Poppins" panose="00000500000000000000" pitchFamily="50" charset="0"/>
              </a:defRPr>
            </a:lvl1pPr>
          </a:lstStyle>
          <a:p>
            <a:pPr marL="0" lvl="0"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841201-6244-4FA1-C9C2-F8DBB5C911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2CC1C6-4AB4-8033-6D7B-88C8FBD338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9C0FA1-58EE-484B-8A46-FE7AEF60211D}" type="datetime1">
              <a:rPr lang="en-US" smtClean="0"/>
              <a:t>1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56E523-A1E0-4F88-505F-391A0665BC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6D5CB2-1DD0-3B82-6CAF-00093584CD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BCB46-63A1-4E91-AD39-9DC1D65796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502857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F69EECF-FB51-AA01-F35D-6977CB86DE7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711127"/>
            <a:ext cx="12192001" cy="5334900"/>
          </a:xfrm>
          <a:custGeom>
            <a:avLst/>
            <a:gdLst>
              <a:gd name="connsiteX0" fmla="*/ 0 w 12192001"/>
              <a:gd name="connsiteY0" fmla="*/ 2667449 h 5334900"/>
              <a:gd name="connsiteX1" fmla="*/ 0 w 12192001"/>
              <a:gd name="connsiteY1" fmla="*/ 2667450 h 5334900"/>
              <a:gd name="connsiteX2" fmla="*/ 0 w 12192001"/>
              <a:gd name="connsiteY2" fmla="*/ 2667450 h 5334900"/>
              <a:gd name="connsiteX3" fmla="*/ 2667450 w 12192001"/>
              <a:gd name="connsiteY3" fmla="*/ 0 h 5334900"/>
              <a:gd name="connsiteX4" fmla="*/ 9524551 w 12192001"/>
              <a:gd name="connsiteY4" fmla="*/ 0 h 5334900"/>
              <a:gd name="connsiteX5" fmla="*/ 12192001 w 12192001"/>
              <a:gd name="connsiteY5" fmla="*/ 2667450 h 5334900"/>
              <a:gd name="connsiteX6" fmla="*/ 12192000 w 12192001"/>
              <a:gd name="connsiteY6" fmla="*/ 2667450 h 5334900"/>
              <a:gd name="connsiteX7" fmla="*/ 9524550 w 12192001"/>
              <a:gd name="connsiteY7" fmla="*/ 5334900 h 5334900"/>
              <a:gd name="connsiteX8" fmla="*/ 2667450 w 12192001"/>
              <a:gd name="connsiteY8" fmla="*/ 5334899 h 5334900"/>
              <a:gd name="connsiteX9" fmla="*/ 13772 w 12192001"/>
              <a:gd name="connsiteY9" fmla="*/ 2940181 h 5334900"/>
              <a:gd name="connsiteX10" fmla="*/ 0 w 12192001"/>
              <a:gd name="connsiteY10" fmla="*/ 2667450 h 5334900"/>
              <a:gd name="connsiteX11" fmla="*/ 13772 w 12192001"/>
              <a:gd name="connsiteY11" fmla="*/ 2394719 h 5334900"/>
              <a:gd name="connsiteX12" fmla="*/ 2667450 w 12192001"/>
              <a:gd name="connsiteY12" fmla="*/ 0 h 5334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1" h="5334900">
                <a:moveTo>
                  <a:pt x="0" y="2667449"/>
                </a:moveTo>
                <a:lnTo>
                  <a:pt x="0" y="2667450"/>
                </a:lnTo>
                <a:lnTo>
                  <a:pt x="0" y="2667450"/>
                </a:lnTo>
                <a:close/>
                <a:moveTo>
                  <a:pt x="2667450" y="0"/>
                </a:moveTo>
                <a:lnTo>
                  <a:pt x="9524551" y="0"/>
                </a:lnTo>
                <a:cubicBezTo>
                  <a:pt x="10997743" y="0"/>
                  <a:pt x="12192001" y="1194258"/>
                  <a:pt x="12192001" y="2667450"/>
                </a:cubicBezTo>
                <a:lnTo>
                  <a:pt x="12192000" y="2667450"/>
                </a:lnTo>
                <a:cubicBezTo>
                  <a:pt x="12192000" y="4140642"/>
                  <a:pt x="10997742" y="5334900"/>
                  <a:pt x="9524550" y="5334900"/>
                </a:cubicBezTo>
                <a:lnTo>
                  <a:pt x="2667450" y="5334899"/>
                </a:lnTo>
                <a:cubicBezTo>
                  <a:pt x="1286333" y="5334899"/>
                  <a:pt x="150372" y="4285258"/>
                  <a:pt x="13772" y="2940181"/>
                </a:cubicBezTo>
                <a:lnTo>
                  <a:pt x="0" y="2667450"/>
                </a:lnTo>
                <a:lnTo>
                  <a:pt x="13772" y="2394719"/>
                </a:lnTo>
                <a:cubicBezTo>
                  <a:pt x="150372" y="1049641"/>
                  <a:pt x="1286333" y="0"/>
                  <a:pt x="266745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841201-6244-4FA1-C9C2-F8DBB5C911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2CC1C6-4AB4-8033-6D7B-88C8FBD338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9C0FA1-58EE-484B-8A46-FE7AEF60211D}" type="datetime1">
              <a:rPr lang="en-US" smtClean="0"/>
              <a:t>1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56E523-A1E0-4F88-505F-391A0665BC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6D5CB2-1DD0-3B82-6CAF-00093584CD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BCB46-63A1-4E91-AD39-9DC1D657961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AC007110-BB48-13A1-EA65-3B1866DB970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271503" y="1670965"/>
            <a:ext cx="4265125" cy="2825274"/>
          </a:xfrm>
          <a:custGeom>
            <a:avLst/>
            <a:gdLst>
              <a:gd name="connsiteX0" fmla="*/ 1412638 w 4265125"/>
              <a:gd name="connsiteY0" fmla="*/ 0 h 2825274"/>
              <a:gd name="connsiteX1" fmla="*/ 4265125 w 4265125"/>
              <a:gd name="connsiteY1" fmla="*/ 0 h 2825274"/>
              <a:gd name="connsiteX2" fmla="*/ 4265125 w 4265125"/>
              <a:gd name="connsiteY2" fmla="*/ 2825274 h 2825274"/>
              <a:gd name="connsiteX3" fmla="*/ 1412638 w 4265125"/>
              <a:gd name="connsiteY3" fmla="*/ 2825274 h 2825274"/>
              <a:gd name="connsiteX4" fmla="*/ 0 w 4265125"/>
              <a:gd name="connsiteY4" fmla="*/ 1412637 h 2825274"/>
              <a:gd name="connsiteX5" fmla="*/ 1412638 w 4265125"/>
              <a:gd name="connsiteY5" fmla="*/ 0 h 2825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65125" h="2825274">
                <a:moveTo>
                  <a:pt x="1412638" y="0"/>
                </a:moveTo>
                <a:lnTo>
                  <a:pt x="4265125" y="0"/>
                </a:lnTo>
                <a:lnTo>
                  <a:pt x="4265125" y="2825274"/>
                </a:lnTo>
                <a:lnTo>
                  <a:pt x="1412638" y="2825274"/>
                </a:lnTo>
                <a:cubicBezTo>
                  <a:pt x="632459" y="2825274"/>
                  <a:pt x="0" y="2192815"/>
                  <a:pt x="0" y="1412637"/>
                </a:cubicBezTo>
                <a:cubicBezTo>
                  <a:pt x="0" y="632459"/>
                  <a:pt x="632459" y="0"/>
                  <a:pt x="141263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154777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9BAA33D-450E-4037-8841-61DBB445FD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267982" y="0"/>
            <a:ext cx="6924018" cy="6858000"/>
          </a:xfrm>
          <a:custGeom>
            <a:avLst/>
            <a:gdLst>
              <a:gd name="connsiteX0" fmla="*/ 1283533 w 6924018"/>
              <a:gd name="connsiteY0" fmla="*/ 0 h 6858000"/>
              <a:gd name="connsiteX1" fmla="*/ 6924018 w 6924018"/>
              <a:gd name="connsiteY1" fmla="*/ 0 h 6858000"/>
              <a:gd name="connsiteX2" fmla="*/ 6924018 w 6924018"/>
              <a:gd name="connsiteY2" fmla="*/ 6858000 h 6858000"/>
              <a:gd name="connsiteX3" fmla="*/ 1283533 w 6924018"/>
              <a:gd name="connsiteY3" fmla="*/ 6858000 h 6858000"/>
              <a:gd name="connsiteX4" fmla="*/ 1229431 w 6924018"/>
              <a:gd name="connsiteY4" fmla="*/ 6796584 h 6858000"/>
              <a:gd name="connsiteX5" fmla="*/ 0 w 6924018"/>
              <a:gd name="connsiteY5" fmla="*/ 3429000 h 6858000"/>
              <a:gd name="connsiteX6" fmla="*/ 1229431 w 6924018"/>
              <a:gd name="connsiteY6" fmla="*/ 6141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24018" h="6858000">
                <a:moveTo>
                  <a:pt x="1283533" y="0"/>
                </a:moveTo>
                <a:lnTo>
                  <a:pt x="6924018" y="0"/>
                </a:lnTo>
                <a:lnTo>
                  <a:pt x="6924018" y="6858000"/>
                </a:lnTo>
                <a:lnTo>
                  <a:pt x="1283533" y="6858000"/>
                </a:lnTo>
                <a:lnTo>
                  <a:pt x="1229431" y="6796584"/>
                </a:lnTo>
                <a:cubicBezTo>
                  <a:pt x="461380" y="5881439"/>
                  <a:pt x="0" y="4708202"/>
                  <a:pt x="0" y="3429000"/>
                </a:cubicBezTo>
                <a:cubicBezTo>
                  <a:pt x="0" y="2149799"/>
                  <a:pt x="461380" y="976561"/>
                  <a:pt x="1229431" y="61417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841201-6244-4FA1-C9C2-F8DBB5C911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2CC1C6-4AB4-8033-6D7B-88C8FBD338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9C0FA1-58EE-484B-8A46-FE7AEF60211D}" type="datetime1">
              <a:rPr lang="en-US" smtClean="0"/>
              <a:t>1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56E523-A1E0-4F88-505F-391A0665BC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6D5CB2-1DD0-3B82-6CAF-00093584CD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BCB46-63A1-4E91-AD39-9DC1D65796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77278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EF50317B-2767-CA79-DC10-D1B4334685B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4319" y="1926524"/>
            <a:ext cx="10983362" cy="3751654"/>
          </a:xfrm>
          <a:custGeom>
            <a:avLst/>
            <a:gdLst>
              <a:gd name="connsiteX0" fmla="*/ 1875827 w 10983362"/>
              <a:gd name="connsiteY0" fmla="*/ 0 h 3751654"/>
              <a:gd name="connsiteX1" fmla="*/ 9107535 w 10983362"/>
              <a:gd name="connsiteY1" fmla="*/ 0 h 3751654"/>
              <a:gd name="connsiteX2" fmla="*/ 10983362 w 10983362"/>
              <a:gd name="connsiteY2" fmla="*/ 1875827 h 3751654"/>
              <a:gd name="connsiteX3" fmla="*/ 9107535 w 10983362"/>
              <a:gd name="connsiteY3" fmla="*/ 3751654 h 3751654"/>
              <a:gd name="connsiteX4" fmla="*/ 1875827 w 10983362"/>
              <a:gd name="connsiteY4" fmla="*/ 3751654 h 3751654"/>
              <a:gd name="connsiteX5" fmla="*/ 0 w 10983362"/>
              <a:gd name="connsiteY5" fmla="*/ 1875827 h 3751654"/>
              <a:gd name="connsiteX6" fmla="*/ 1875827 w 10983362"/>
              <a:gd name="connsiteY6" fmla="*/ 0 h 3751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983362" h="3751654">
                <a:moveTo>
                  <a:pt x="1875827" y="0"/>
                </a:moveTo>
                <a:lnTo>
                  <a:pt x="9107535" y="0"/>
                </a:lnTo>
                <a:cubicBezTo>
                  <a:pt x="10143526" y="0"/>
                  <a:pt x="10983362" y="839836"/>
                  <a:pt x="10983362" y="1875827"/>
                </a:cubicBezTo>
                <a:cubicBezTo>
                  <a:pt x="10983362" y="2911818"/>
                  <a:pt x="10143526" y="3751654"/>
                  <a:pt x="9107535" y="3751654"/>
                </a:cubicBezTo>
                <a:lnTo>
                  <a:pt x="1875827" y="3751654"/>
                </a:lnTo>
                <a:cubicBezTo>
                  <a:pt x="839836" y="3751654"/>
                  <a:pt x="0" y="2911818"/>
                  <a:pt x="0" y="1875827"/>
                </a:cubicBezTo>
                <a:cubicBezTo>
                  <a:pt x="0" y="839836"/>
                  <a:pt x="839836" y="0"/>
                  <a:pt x="1875827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841201-6244-4FA1-C9C2-F8DBB5C911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2CC1C6-4AB4-8033-6D7B-88C8FBD338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9C0FA1-58EE-484B-8A46-FE7AEF60211D}" type="datetime1">
              <a:rPr lang="en-US" smtClean="0"/>
              <a:t>1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56E523-A1E0-4F88-505F-391A0665BC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6D5CB2-1DD0-3B82-6CAF-00093584CD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BCB46-63A1-4E91-AD39-9DC1D65796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97157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216E6A-0C60-99D0-D82B-69779D2032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744FDA-9FDA-E20A-A90D-34B11FB9A35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D786BC-D182-BE37-D0D3-22CB6D2512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DECAD0-72B3-4E06-BE8E-49079C5296F5}" type="datetime1">
              <a:rPr lang="en-US" smtClean="0"/>
              <a:t>1/1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F7914D-4C92-4D13-3DAC-326AE7141E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3974F9-5FA2-0079-E734-F4F65379D6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BCB46-63A1-4E91-AD39-9DC1D65796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82156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FDD46C3-63A3-949E-9233-7ABDD57F6B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934212" y="1292576"/>
            <a:ext cx="4697942" cy="4697942"/>
          </a:xfrm>
          <a:custGeom>
            <a:avLst/>
            <a:gdLst>
              <a:gd name="connsiteX0" fmla="*/ 2348971 w 4697942"/>
              <a:gd name="connsiteY0" fmla="*/ 0 h 4697942"/>
              <a:gd name="connsiteX1" fmla="*/ 4697942 w 4697942"/>
              <a:gd name="connsiteY1" fmla="*/ 2348971 h 4697942"/>
              <a:gd name="connsiteX2" fmla="*/ 2348971 w 4697942"/>
              <a:gd name="connsiteY2" fmla="*/ 4697942 h 4697942"/>
              <a:gd name="connsiteX3" fmla="*/ 0 w 4697942"/>
              <a:gd name="connsiteY3" fmla="*/ 2348971 h 4697942"/>
              <a:gd name="connsiteX4" fmla="*/ 2348971 w 4697942"/>
              <a:gd name="connsiteY4" fmla="*/ 0 h 46979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97942" h="4697942">
                <a:moveTo>
                  <a:pt x="2348971" y="0"/>
                </a:moveTo>
                <a:cubicBezTo>
                  <a:pt x="3646272" y="0"/>
                  <a:pt x="4697942" y="1051670"/>
                  <a:pt x="4697942" y="2348971"/>
                </a:cubicBezTo>
                <a:cubicBezTo>
                  <a:pt x="4697942" y="3646272"/>
                  <a:pt x="3646272" y="4697942"/>
                  <a:pt x="2348971" y="4697942"/>
                </a:cubicBezTo>
                <a:cubicBezTo>
                  <a:pt x="1051670" y="4697942"/>
                  <a:pt x="0" y="3646272"/>
                  <a:pt x="0" y="2348971"/>
                </a:cubicBezTo>
                <a:cubicBezTo>
                  <a:pt x="0" y="1051670"/>
                  <a:pt x="1051670" y="0"/>
                  <a:pt x="234897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841201-6244-4FA1-C9C2-F8DBB5C911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2CC1C6-4AB4-8033-6D7B-88C8FBD338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9C0FA1-58EE-484B-8A46-FE7AEF60211D}" type="datetime1">
              <a:rPr lang="en-US" smtClean="0"/>
              <a:t>1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56E523-A1E0-4F88-505F-391A0665BC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6D5CB2-1DD0-3B82-6CAF-00093584CD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BCB46-63A1-4E91-AD39-9DC1D65796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02312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9205051-E1E6-3623-5C33-5D00A45EB21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79316" y="2146365"/>
            <a:ext cx="3253967" cy="3253967"/>
          </a:xfrm>
          <a:custGeom>
            <a:avLst/>
            <a:gdLst>
              <a:gd name="connsiteX0" fmla="*/ 1626984 w 3253967"/>
              <a:gd name="connsiteY0" fmla="*/ 0 h 3253967"/>
              <a:gd name="connsiteX1" fmla="*/ 3253967 w 3253967"/>
              <a:gd name="connsiteY1" fmla="*/ 1626984 h 3253967"/>
              <a:gd name="connsiteX2" fmla="*/ 1626984 w 3253967"/>
              <a:gd name="connsiteY2" fmla="*/ 3253967 h 3253967"/>
              <a:gd name="connsiteX3" fmla="*/ 0 w 3253967"/>
              <a:gd name="connsiteY3" fmla="*/ 1626984 h 3253967"/>
              <a:gd name="connsiteX4" fmla="*/ 1626984 w 3253967"/>
              <a:gd name="connsiteY4" fmla="*/ 0 h 32539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53967" h="3253967">
                <a:moveTo>
                  <a:pt x="1626984" y="0"/>
                </a:moveTo>
                <a:cubicBezTo>
                  <a:pt x="2525541" y="0"/>
                  <a:pt x="3253967" y="728426"/>
                  <a:pt x="3253967" y="1626984"/>
                </a:cubicBezTo>
                <a:cubicBezTo>
                  <a:pt x="3253967" y="2525541"/>
                  <a:pt x="2525541" y="3253967"/>
                  <a:pt x="1626984" y="3253967"/>
                </a:cubicBezTo>
                <a:cubicBezTo>
                  <a:pt x="728426" y="3253967"/>
                  <a:pt x="0" y="2525541"/>
                  <a:pt x="0" y="1626984"/>
                </a:cubicBezTo>
                <a:cubicBezTo>
                  <a:pt x="0" y="728426"/>
                  <a:pt x="728426" y="0"/>
                  <a:pt x="162698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DB6AFCA-0BD0-F4A4-B4A5-880B370457F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58719" y="2146365"/>
            <a:ext cx="3253967" cy="3253967"/>
          </a:xfrm>
          <a:custGeom>
            <a:avLst/>
            <a:gdLst>
              <a:gd name="connsiteX0" fmla="*/ 1626984 w 3253967"/>
              <a:gd name="connsiteY0" fmla="*/ 0 h 3253967"/>
              <a:gd name="connsiteX1" fmla="*/ 3253967 w 3253967"/>
              <a:gd name="connsiteY1" fmla="*/ 1626984 h 3253967"/>
              <a:gd name="connsiteX2" fmla="*/ 1626984 w 3253967"/>
              <a:gd name="connsiteY2" fmla="*/ 3253967 h 3253967"/>
              <a:gd name="connsiteX3" fmla="*/ 0 w 3253967"/>
              <a:gd name="connsiteY3" fmla="*/ 1626984 h 3253967"/>
              <a:gd name="connsiteX4" fmla="*/ 1626984 w 3253967"/>
              <a:gd name="connsiteY4" fmla="*/ 0 h 32539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53967" h="3253967">
                <a:moveTo>
                  <a:pt x="1626984" y="0"/>
                </a:moveTo>
                <a:cubicBezTo>
                  <a:pt x="2525541" y="0"/>
                  <a:pt x="3253967" y="728426"/>
                  <a:pt x="3253967" y="1626984"/>
                </a:cubicBezTo>
                <a:cubicBezTo>
                  <a:pt x="3253967" y="2525541"/>
                  <a:pt x="2525541" y="3253967"/>
                  <a:pt x="1626984" y="3253967"/>
                </a:cubicBezTo>
                <a:cubicBezTo>
                  <a:pt x="728426" y="3253967"/>
                  <a:pt x="0" y="2525541"/>
                  <a:pt x="0" y="1626984"/>
                </a:cubicBezTo>
                <a:cubicBezTo>
                  <a:pt x="0" y="728426"/>
                  <a:pt x="728426" y="0"/>
                  <a:pt x="162698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841201-6244-4FA1-C9C2-F8DBB5C911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2CC1C6-4AB4-8033-6D7B-88C8FBD338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9C0FA1-58EE-484B-8A46-FE7AEF60211D}" type="datetime1">
              <a:rPr lang="en-US" smtClean="0"/>
              <a:t>1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56E523-A1E0-4F88-505F-391A0665BC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6D5CB2-1DD0-3B82-6CAF-00093584CD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BCB46-63A1-4E91-AD39-9DC1D65796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15412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940859A-FEED-FE17-3312-4B13B7ADBF4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247404" y="1189155"/>
            <a:ext cx="2308900" cy="4628176"/>
          </a:xfrm>
          <a:custGeom>
            <a:avLst/>
            <a:gdLst>
              <a:gd name="connsiteX0" fmla="*/ 2308900 w 2308900"/>
              <a:gd name="connsiteY0" fmla="*/ 0 h 4628176"/>
              <a:gd name="connsiteX1" fmla="*/ 2308900 w 2308900"/>
              <a:gd name="connsiteY1" fmla="*/ 4628176 h 4628176"/>
              <a:gd name="connsiteX2" fmla="*/ 2077734 w 2308900"/>
              <a:gd name="connsiteY2" fmla="*/ 4616503 h 4628176"/>
              <a:gd name="connsiteX3" fmla="*/ 0 w 2308900"/>
              <a:gd name="connsiteY3" fmla="*/ 2314088 h 4628176"/>
              <a:gd name="connsiteX4" fmla="*/ 2077734 w 2308900"/>
              <a:gd name="connsiteY4" fmla="*/ 11673 h 4628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08900" h="4628176">
                <a:moveTo>
                  <a:pt x="2308900" y="0"/>
                </a:moveTo>
                <a:lnTo>
                  <a:pt x="2308900" y="4628176"/>
                </a:lnTo>
                <a:lnTo>
                  <a:pt x="2077734" y="4616503"/>
                </a:lnTo>
                <a:cubicBezTo>
                  <a:pt x="910702" y="4497985"/>
                  <a:pt x="0" y="3512389"/>
                  <a:pt x="0" y="2314088"/>
                </a:cubicBezTo>
                <a:cubicBezTo>
                  <a:pt x="0" y="1115787"/>
                  <a:pt x="910702" y="130192"/>
                  <a:pt x="2077734" y="11673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841201-6244-4FA1-C9C2-F8DBB5C911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2CC1C6-4AB4-8033-6D7B-88C8FBD338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9C0FA1-58EE-484B-8A46-FE7AEF60211D}" type="datetime1">
              <a:rPr lang="en-US" smtClean="0"/>
              <a:t>1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56E523-A1E0-4F88-505F-391A0665BC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6D5CB2-1DD0-3B82-6CAF-00093584CD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BCB46-63A1-4E91-AD39-9DC1D65796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246578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98D3A99-29D3-6EAB-35A9-135E8DA03B1F}"/>
              </a:ext>
            </a:extLst>
          </p:cNvPr>
          <p:cNvSpPr/>
          <p:nvPr userDrawn="1"/>
        </p:nvSpPr>
        <p:spPr>
          <a:xfrm>
            <a:off x="-1" y="4114800"/>
            <a:ext cx="12191999" cy="2743200"/>
          </a:xfrm>
          <a:prstGeom prst="rect">
            <a:avLst/>
          </a:prstGeom>
          <a:gradFill flip="none" rotWithShape="1">
            <a:gsLst>
              <a:gs pos="42200">
                <a:srgbClr val="4C53B8"/>
              </a:gs>
              <a:gs pos="100000">
                <a:srgbClr val="21AD84"/>
              </a:gs>
              <a:gs pos="0">
                <a:srgbClr val="DD02F8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vi-VN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EA261E9-8B8F-619A-00F2-9425AE7E2A98}"/>
              </a:ext>
            </a:extLst>
          </p:cNvPr>
          <p:cNvSpPr/>
          <p:nvPr userDrawn="1"/>
        </p:nvSpPr>
        <p:spPr>
          <a:xfrm>
            <a:off x="1" y="2521699"/>
            <a:ext cx="12192000" cy="339362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841201-6244-4FA1-C9C2-F8DBB5C911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2CC1C6-4AB4-8033-6D7B-88C8FBD338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9C0FA1-58EE-484B-8A46-FE7AEF60211D}" type="datetime1">
              <a:rPr lang="en-US" smtClean="0"/>
              <a:t>1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56E523-A1E0-4F88-505F-391A0665BC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6D5CB2-1DD0-3B82-6CAF-00093584CD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BCB46-63A1-4E91-AD39-9DC1D65796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4788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B5A8BF4-8236-7AA1-42D7-1D9580AABE3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009358"/>
            <a:ext cx="5508153" cy="5848640"/>
          </a:xfrm>
          <a:custGeom>
            <a:avLst/>
            <a:gdLst>
              <a:gd name="connsiteX0" fmla="*/ 1528389 w 5508153"/>
              <a:gd name="connsiteY0" fmla="*/ 0 h 5848640"/>
              <a:gd name="connsiteX1" fmla="*/ 5508153 w 5508153"/>
              <a:gd name="connsiteY1" fmla="*/ 3979764 h 5848640"/>
              <a:gd name="connsiteX2" fmla="*/ 5195403 w 5508153"/>
              <a:gd name="connsiteY2" fmla="*/ 5528868 h 5848640"/>
              <a:gd name="connsiteX3" fmla="*/ 5041361 w 5508153"/>
              <a:gd name="connsiteY3" fmla="*/ 5848640 h 5848640"/>
              <a:gd name="connsiteX4" fmla="*/ 0 w 5508153"/>
              <a:gd name="connsiteY4" fmla="*/ 5848640 h 5848640"/>
              <a:gd name="connsiteX5" fmla="*/ 0 w 5508153"/>
              <a:gd name="connsiteY5" fmla="*/ 304582 h 5848640"/>
              <a:gd name="connsiteX6" fmla="*/ 160013 w 5508153"/>
              <a:gd name="connsiteY6" fmla="*/ 241491 h 5848640"/>
              <a:gd name="connsiteX7" fmla="*/ 1528389 w 5508153"/>
              <a:gd name="connsiteY7" fmla="*/ 0 h 58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08153" h="5848640">
                <a:moveTo>
                  <a:pt x="1528389" y="0"/>
                </a:moveTo>
                <a:cubicBezTo>
                  <a:pt x="3726353" y="0"/>
                  <a:pt x="5508153" y="1781801"/>
                  <a:pt x="5508153" y="3979764"/>
                </a:cubicBezTo>
                <a:cubicBezTo>
                  <a:pt x="5508153" y="4529254"/>
                  <a:pt x="5396791" y="5052735"/>
                  <a:pt x="5195403" y="5528868"/>
                </a:cubicBezTo>
                <a:lnTo>
                  <a:pt x="5041361" y="5848640"/>
                </a:lnTo>
                <a:lnTo>
                  <a:pt x="0" y="5848640"/>
                </a:lnTo>
                <a:lnTo>
                  <a:pt x="0" y="304582"/>
                </a:lnTo>
                <a:lnTo>
                  <a:pt x="160013" y="241491"/>
                </a:lnTo>
                <a:cubicBezTo>
                  <a:pt x="586695" y="85263"/>
                  <a:pt x="1047585" y="0"/>
                  <a:pt x="152838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841201-6244-4FA1-C9C2-F8DBB5C911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2CC1C6-4AB4-8033-6D7B-88C8FBD338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9C0FA1-58EE-484B-8A46-FE7AEF60211D}" type="datetime1">
              <a:rPr lang="en-US" smtClean="0"/>
              <a:t>1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56E523-A1E0-4F88-505F-391A0665BC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6D5CB2-1DD0-3B82-6CAF-00093584CD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BCB46-63A1-4E91-AD39-9DC1D65796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059160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D90026E-5E15-4B6D-1760-4A7A7F9D174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99000">
                <a:srgbClr val="21AD84">
                  <a:alpha val="90000"/>
                </a:srgbClr>
              </a:gs>
              <a:gs pos="46000">
                <a:srgbClr val="4C53B8"/>
              </a:gs>
              <a:gs pos="0">
                <a:srgbClr val="DD02F8">
                  <a:alpha val="95000"/>
                </a:srgbClr>
              </a:gs>
            </a:gsLst>
            <a:lin ang="18900000" scaled="1"/>
            <a:tileRect/>
          </a:gradFill>
          <a:ln w="285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C8A1571-9D91-909D-86B5-B2322CFF97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44347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2841201-6244-4FA1-C9C2-F8DBB5C911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771788"/>
            <a:ext cx="4313222" cy="3052439"/>
          </a:xfrm>
          <a:noFill/>
        </p:spPr>
        <p:txBody>
          <a:bodyPr wrap="square">
            <a:spAutoFit/>
          </a:bodyPr>
          <a:lstStyle>
            <a:lvl1pPr>
              <a:defRPr lang="en-US" sz="6000" spc="-150" dirty="0">
                <a:gradFill flip="none" rotWithShape="1">
                  <a:gsLst>
                    <a:gs pos="0">
                      <a:srgbClr val="5342D6">
                        <a:alpha val="76000"/>
                      </a:srgbClr>
                    </a:gs>
                    <a:gs pos="100000">
                      <a:schemeClr val="bg1"/>
                    </a:gs>
                  </a:gsLst>
                  <a:lin ang="5400000" scaled="0"/>
                  <a:tileRect/>
                </a:gradFill>
                <a:latin typeface="Montserrat" panose="00000500000000000000" pitchFamily="2" charset="0"/>
                <a:ea typeface="Roboto Condensed" panose="02000000000000000000" pitchFamily="2" charset="0"/>
                <a:cs typeface="Poppins" panose="02000000000000000000" pitchFamily="2" charset="0"/>
              </a:defRPr>
            </a:lvl1pPr>
          </a:lstStyle>
          <a:p>
            <a:pPr marL="0" lvl="0" fontAlgn="base">
              <a:lnSpc>
                <a:spcPct val="8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2CC1C6-4AB4-8033-6D7B-88C8FBD338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9C0FA1-58EE-484B-8A46-FE7AEF60211D}" type="datetime1">
              <a:rPr lang="en-US" smtClean="0"/>
              <a:t>1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56E523-A1E0-4F88-505F-391A0665BC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6D5CB2-1DD0-3B82-6CAF-00093584CD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BCB46-63A1-4E91-AD39-9DC1D65796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918159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A5CDFAE-61C1-BBCA-2B40-B99A839B801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81744" y="373453"/>
            <a:ext cx="11428512" cy="6110293"/>
          </a:xfrm>
          <a:custGeom>
            <a:avLst/>
            <a:gdLst>
              <a:gd name="connsiteX0" fmla="*/ 0 w 11428512"/>
              <a:gd name="connsiteY0" fmla="*/ 0 h 6110293"/>
              <a:gd name="connsiteX1" fmla="*/ 11428512 w 11428512"/>
              <a:gd name="connsiteY1" fmla="*/ 0 h 6110293"/>
              <a:gd name="connsiteX2" fmla="*/ 11428512 w 11428512"/>
              <a:gd name="connsiteY2" fmla="*/ 6110293 h 6110293"/>
              <a:gd name="connsiteX3" fmla="*/ 0 w 11428512"/>
              <a:gd name="connsiteY3" fmla="*/ 6110293 h 6110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28512" h="6110293">
                <a:moveTo>
                  <a:pt x="0" y="0"/>
                </a:moveTo>
                <a:lnTo>
                  <a:pt x="11428512" y="0"/>
                </a:lnTo>
                <a:lnTo>
                  <a:pt x="11428512" y="6110293"/>
                </a:lnTo>
                <a:lnTo>
                  <a:pt x="0" y="611029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841201-6244-4FA1-C9C2-F8DBB5C911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6741" y="2525917"/>
            <a:ext cx="7538518" cy="1806166"/>
          </a:xfrm>
        </p:spPr>
        <p:txBody>
          <a:bodyPr>
            <a:normAutofit/>
          </a:bodyPr>
          <a:lstStyle>
            <a:lvl1pPr algn="ctr">
              <a:defRPr sz="5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2CC1C6-4AB4-8033-6D7B-88C8FBD338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0203B7-6124-4A61-8FF5-EE15EB56E547}" type="datetime1">
              <a:rPr lang="en-US" smtClean="0"/>
              <a:t>1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56E523-A1E0-4F88-505F-391A0665BC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6D5CB2-1DD0-3B82-6CAF-00093584CD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BCB46-63A1-4E91-AD39-9DC1D65796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865978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F0913F-55E0-F572-C9C7-9B9434DC2C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3B860F-FD42-41D0-BE65-550C1A7E80A0}" type="datetime1">
              <a:rPr lang="en-US" smtClean="0"/>
              <a:t>1/18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38FBED4-651C-E5B5-B926-5EF99917EB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74EB4D7-EA42-28DA-FDED-C093558F3F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BCB46-63A1-4E91-AD39-9DC1D65796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541724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1E8ACB-CC71-EA30-513B-563CF74891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C2FD274-BDF9-4AD2-DBA9-A272BE0A1FB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38D326-3B13-85CE-95C3-8E8C1BBA35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247E6C-5102-4882-BA67-8744BD48C998}" type="datetime1">
              <a:rPr lang="en-US" smtClean="0"/>
              <a:t>1/1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FCFFFB-0A02-D510-89CB-5ED7731423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0DE01A-A0DF-9DF9-3B54-5C201EC052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BCB46-63A1-4E91-AD39-9DC1D65796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466727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AEE120C-097B-467F-B83F-D33EA9AF18B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0"/>
            <a:ext cx="5484829" cy="6858000"/>
          </a:xfrm>
          <a:custGeom>
            <a:avLst/>
            <a:gdLst>
              <a:gd name="connsiteX0" fmla="*/ 0 w 5484829"/>
              <a:gd name="connsiteY0" fmla="*/ 0 h 6858000"/>
              <a:gd name="connsiteX1" fmla="*/ 3428771 w 5484829"/>
              <a:gd name="connsiteY1" fmla="*/ 0 h 6858000"/>
              <a:gd name="connsiteX2" fmla="*/ 3450639 w 5484829"/>
              <a:gd name="connsiteY2" fmla="*/ 11201 h 6858000"/>
              <a:gd name="connsiteX3" fmla="*/ 5484829 w 5484829"/>
              <a:gd name="connsiteY3" fmla="*/ 3429000 h 6858000"/>
              <a:gd name="connsiteX4" fmla="*/ 3450639 w 5484829"/>
              <a:gd name="connsiteY4" fmla="*/ 6846800 h 6858000"/>
              <a:gd name="connsiteX5" fmla="*/ 3428771 w 5484829"/>
              <a:gd name="connsiteY5" fmla="*/ 6858000 h 6858000"/>
              <a:gd name="connsiteX6" fmla="*/ 0 w 5484829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84829" h="6858000">
                <a:moveTo>
                  <a:pt x="0" y="0"/>
                </a:moveTo>
                <a:lnTo>
                  <a:pt x="3428771" y="0"/>
                </a:lnTo>
                <a:lnTo>
                  <a:pt x="3450639" y="11201"/>
                </a:lnTo>
                <a:cubicBezTo>
                  <a:pt x="4662294" y="669411"/>
                  <a:pt x="5484829" y="1953149"/>
                  <a:pt x="5484829" y="3429000"/>
                </a:cubicBezTo>
                <a:cubicBezTo>
                  <a:pt x="5484829" y="4904852"/>
                  <a:pt x="4662294" y="6188590"/>
                  <a:pt x="3450639" y="6846800"/>
                </a:cubicBezTo>
                <a:lnTo>
                  <a:pt x="3428771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B9C1DD3-3760-4A48-9898-4F89DE9E8E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06DA1D5-FA20-465C-BC76-F092F752AB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5732D0-CB90-47A3-908B-6CBB2749D95F}" type="datetime1">
              <a:rPr lang="en-US" smtClean="0"/>
              <a:t>1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452B83-0F45-4908-9E21-B26194E861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F5DC01-EA53-4218-BBC3-4082AB90E0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F301A9-F9AC-462A-9546-05553F4C84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65022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3D04E4-9C9F-01E5-9828-6342B6A57D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C433F7-8D09-9BAC-9B97-434FF35E4A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2A68A1-8368-0257-51F5-A9B67D74A0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7DCFA-D00E-4A44-9400-22D9D65C77F5}" type="datetime1">
              <a:rPr lang="en-US" smtClean="0"/>
              <a:t>1/1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0D0B5D-36E8-F5C2-844E-9CAB1C89B3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1170D6-7B60-8F96-78C3-E6FD1EC598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BCB46-63A1-4E91-AD39-9DC1D65796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08352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ABEB84-65B7-DBDA-4301-B007AC6D2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577F9E-423F-8DD0-8B28-2CADFC514F0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C526533-30D8-D753-9EC2-7357E68FD7F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1493AAD-E5BB-5966-5CA3-EF9437DC2A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F288FA-1C17-4FE7-878D-C29EB2DD53A7}" type="datetime1">
              <a:rPr lang="en-US" smtClean="0"/>
              <a:t>1/1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601B8A5-A887-F8BC-C077-448BA0C762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F486866-705C-1E8A-A70F-9A46DCAF8E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BCB46-63A1-4E91-AD39-9DC1D65796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0916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D18CDB-5656-F15C-41FC-C6D84C372A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51CF40-5BC1-A46F-5401-A463859EF8C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4FF489B-7471-4246-5B07-3839C189A02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B1DA13C-E61C-607E-1845-F2A3353FD3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7274ACC-7BEF-58A8-A5BF-7D93B95C8BB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1BB1D6C-8FDB-8B63-E1B4-57F74D09C9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7D3318-A29A-4465-9309-D863FB39F217}" type="datetime1">
              <a:rPr lang="en-US" smtClean="0"/>
              <a:t>1/18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5BD2A78-BEC5-6EAD-4566-F59BE1A9A3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85E79C-19C5-6611-C321-6C4DBFB174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BCB46-63A1-4E91-AD39-9DC1D65796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20800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841201-6244-4FA1-C9C2-F8DBB5C911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2CC1C6-4AB4-8033-6D7B-88C8FBD338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9C0FA1-58EE-484B-8A46-FE7AEF60211D}" type="datetime1">
              <a:rPr lang="en-US" smtClean="0"/>
              <a:t>1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56E523-A1E0-4F88-505F-391A0665BC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6D5CB2-1DD0-3B82-6CAF-00093584CD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BCB46-63A1-4E91-AD39-9DC1D65796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88830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08EB738-E8A7-56FA-6470-14FA3918D52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841201-6244-4FA1-C9C2-F8DBB5C911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2CC1C6-4AB4-8033-6D7B-88C8FBD338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9C0FA1-58EE-484B-8A46-FE7AEF60211D}" type="datetime1">
              <a:rPr lang="en-US" smtClean="0"/>
              <a:t>1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56E523-A1E0-4F88-505F-391A0665BC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6D5CB2-1DD0-3B82-6CAF-00093584CD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BCB46-63A1-4E91-AD39-9DC1D65796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0859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6FDADC5-8C9C-41D8-7FEB-E8313023071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99000">
                <a:srgbClr val="21AD84">
                  <a:alpha val="90000"/>
                </a:srgbClr>
              </a:gs>
              <a:gs pos="46000">
                <a:srgbClr val="4C53B8"/>
              </a:gs>
              <a:gs pos="0">
                <a:srgbClr val="DD02F8">
                  <a:alpha val="95000"/>
                </a:srgbClr>
              </a:gs>
            </a:gsLst>
            <a:lin ang="18900000" scaled="1"/>
            <a:tileRect/>
          </a:gradFill>
          <a:ln w="285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6A089BF-0512-D6F5-5BB1-79BF0932B0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44347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2841201-6244-4FA1-C9C2-F8DBB5C911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2CC1C6-4AB4-8033-6D7B-88C8FBD338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59C0FA1-58EE-484B-8A46-FE7AEF60211D}" type="datetime1">
              <a:rPr lang="en-US" smtClean="0"/>
              <a:pPr/>
              <a:t>1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56E523-A1E0-4F88-505F-391A0665BC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6D5CB2-1DD0-3B82-6CAF-00093584CD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31BCB46-63A1-4E91-AD39-9DC1D65796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2279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2609D8C-E2F2-1844-A987-BE890C39258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29093" y="2142375"/>
            <a:ext cx="1422400" cy="2097620"/>
          </a:xfrm>
          <a:custGeom>
            <a:avLst/>
            <a:gdLst>
              <a:gd name="connsiteX0" fmla="*/ 312420 w 1422400"/>
              <a:gd name="connsiteY0" fmla="*/ 0 h 2097620"/>
              <a:gd name="connsiteX1" fmla="*/ 1422400 w 1422400"/>
              <a:gd name="connsiteY1" fmla="*/ 22860 h 2097620"/>
              <a:gd name="connsiteX2" fmla="*/ 1117600 w 1422400"/>
              <a:gd name="connsiteY2" fmla="*/ 2097620 h 2097620"/>
              <a:gd name="connsiteX3" fmla="*/ 0 w 1422400"/>
              <a:gd name="connsiteY3" fmla="*/ 1907120 h 2097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2400" h="2097620">
                <a:moveTo>
                  <a:pt x="312420" y="0"/>
                </a:moveTo>
                <a:lnTo>
                  <a:pt x="1422400" y="22860"/>
                </a:lnTo>
                <a:lnTo>
                  <a:pt x="1117600" y="2097620"/>
                </a:lnTo>
                <a:lnTo>
                  <a:pt x="0" y="190712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841201-6244-4FA1-C9C2-F8DBB5C911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2CC1C6-4AB4-8033-6D7B-88C8FBD338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9C0FA1-58EE-484B-8A46-FE7AEF60211D}" type="datetime1">
              <a:rPr lang="en-US" smtClean="0"/>
              <a:t>1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56E523-A1E0-4F88-505F-391A0665BC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6D5CB2-1DD0-3B82-6CAF-00093584CD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BCB46-63A1-4E91-AD39-9DC1D65796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37902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36CEA04-B248-00A9-1520-A569CDD831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23850"/>
            <a:ext cx="10515600" cy="80100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5AAC92-F389-C445-556A-0D6E8CF6CA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922628"/>
            <a:ext cx="10515600" cy="388064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F4E185-816D-5C9E-2C59-C6BA52BD5FE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45942E-206B-4E5C-A1E5-791CA8576121}" type="datetime1">
              <a:rPr lang="en-US" smtClean="0"/>
              <a:t>1/1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D0C2A8-C495-5549-0FC6-7D0096474E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AEE840-0267-A556-7E58-CE6374ED16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06288" y="207190"/>
            <a:ext cx="7125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  <a:latin typeface="Montserrat Light" panose="00000400000000000000" pitchFamily="2" charset="0"/>
              </a:defRPr>
            </a:lvl1pPr>
          </a:lstStyle>
          <a:p>
            <a:fld id="{131BCB46-63A1-4E91-AD39-9DC1D65796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4372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82" r:id="rId7"/>
    <p:sldLayoutId id="2147483681" r:id="rId8"/>
    <p:sldLayoutId id="2147483680" r:id="rId9"/>
    <p:sldLayoutId id="2147483679" r:id="rId10"/>
    <p:sldLayoutId id="2147483678" r:id="rId11"/>
    <p:sldLayoutId id="2147483677" r:id="rId12"/>
    <p:sldLayoutId id="2147483676" r:id="rId13"/>
    <p:sldLayoutId id="2147483675" r:id="rId14"/>
    <p:sldLayoutId id="2147483674" r:id="rId15"/>
    <p:sldLayoutId id="2147483673" r:id="rId16"/>
    <p:sldLayoutId id="2147483671" r:id="rId17"/>
    <p:sldLayoutId id="2147483670" r:id="rId18"/>
    <p:sldLayoutId id="2147483669" r:id="rId19"/>
    <p:sldLayoutId id="2147483668" r:id="rId20"/>
    <p:sldLayoutId id="2147483667" r:id="rId21"/>
    <p:sldLayoutId id="2147483666" r:id="rId22"/>
    <p:sldLayoutId id="2147483665" r:id="rId23"/>
    <p:sldLayoutId id="2147483664" r:id="rId24"/>
    <p:sldLayoutId id="2147483663" r:id="rId25"/>
    <p:sldLayoutId id="2147483661" r:id="rId26"/>
    <p:sldLayoutId id="2147483655" r:id="rId27"/>
    <p:sldLayoutId id="2147483658" r:id="rId28"/>
    <p:sldLayoutId id="2147483660" r:id="rId2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Poppins" panose="00000500000000000000" pitchFamily="50" charset="0"/>
          <a:ea typeface="+mj-ea"/>
          <a:cs typeface="Poppins" panose="00000500000000000000" pitchFamily="50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ontserrat Light" panose="00000400000000000000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ontserrat Light" panose="00000400000000000000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 Light" panose="00000400000000000000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Montserrat Light" panose="00000400000000000000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Montserrat Light" panose="00000400000000000000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3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3.bin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microsoft.com/office/2007/relationships/hdphoto" Target="../media/hdphoto2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8.png"/><Relationship Id="rId5" Type="http://schemas.openxmlformats.org/officeDocument/2006/relationships/image" Target="../media/image7.jpe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bin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image" Target="../media/image16.bin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9.jpeg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086DB4-40D6-E97B-BB35-96815BCE23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Marcador de posición de imagen 10"/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6000"/>
                    </a14:imgEffect>
                    <a14:imgEffect>
                      <a14:colorTemperature colorTemp="4101"/>
                    </a14:imgEffect>
                    <a14:imgEffect>
                      <a14:saturation sat="105000"/>
                    </a14:imgEffect>
                    <a14:imgEffect>
                      <a14:brightnessContrast contrast="1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9885" y="859693"/>
            <a:ext cx="5337908" cy="5337908"/>
          </a:xfrm>
          <a:prstGeom prst="ellipse">
            <a:avLst/>
          </a:prstGeom>
          <a:ln w="190500" cap="rnd">
            <a:solidFill>
              <a:srgbClr val="C8C6BD"/>
            </a:solidFill>
            <a:prstDash val="solid"/>
          </a:ln>
          <a:effectLst>
            <a:outerShdw blurRad="127000" algn="bl" rotWithShape="0">
              <a:srgbClr val="000000"/>
            </a:outerShdw>
          </a:effectLst>
          <a:scene3d>
            <a:camera prst="perspectiveFront" fov="5400000"/>
            <a:lightRig rig="threePt" dir="t">
              <a:rot lat="0" lon="0" rev="192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sp>
        <p:nvSpPr>
          <p:cNvPr id="2" name="Freeform: Shape 1">
            <a:extLst>
              <a:ext uri="{FF2B5EF4-FFF2-40B4-BE49-F238E27FC236}">
                <a16:creationId xmlns:a16="http://schemas.microsoft.com/office/drawing/2014/main" id="{D9987867-3F29-34E7-61A9-E512572D0109}"/>
              </a:ext>
            </a:extLst>
          </p:cNvPr>
          <p:cNvSpPr/>
          <p:nvPr/>
        </p:nvSpPr>
        <p:spPr>
          <a:xfrm>
            <a:off x="381743" y="343302"/>
            <a:ext cx="11428512" cy="6171396"/>
          </a:xfrm>
          <a:custGeom>
            <a:avLst/>
            <a:gdLst>
              <a:gd name="connsiteX0" fmla="*/ 16529782 w 22860000"/>
              <a:gd name="connsiteY0" fmla="*/ 1226820 h 12344400"/>
              <a:gd name="connsiteX1" fmla="*/ 11393903 w 22860000"/>
              <a:gd name="connsiteY1" fmla="*/ 6362700 h 12344400"/>
              <a:gd name="connsiteX2" fmla="*/ 16529782 w 22860000"/>
              <a:gd name="connsiteY2" fmla="*/ 11498580 h 12344400"/>
              <a:gd name="connsiteX3" fmla="*/ 21665662 w 22860000"/>
              <a:gd name="connsiteY3" fmla="*/ 6362700 h 12344400"/>
              <a:gd name="connsiteX4" fmla="*/ 16529782 w 22860000"/>
              <a:gd name="connsiteY4" fmla="*/ 1226820 h 12344400"/>
              <a:gd name="connsiteX5" fmla="*/ 0 w 22860000"/>
              <a:gd name="connsiteY5" fmla="*/ 0 h 12344400"/>
              <a:gd name="connsiteX6" fmla="*/ 22860000 w 22860000"/>
              <a:gd name="connsiteY6" fmla="*/ 0 h 12344400"/>
              <a:gd name="connsiteX7" fmla="*/ 22860000 w 22860000"/>
              <a:gd name="connsiteY7" fmla="*/ 12344400 h 12344400"/>
              <a:gd name="connsiteX8" fmla="*/ 0 w 22860000"/>
              <a:gd name="connsiteY8" fmla="*/ 12344400 h 123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60000" h="12344400">
                <a:moveTo>
                  <a:pt x="16529782" y="1226820"/>
                </a:moveTo>
                <a:cubicBezTo>
                  <a:pt x="13693315" y="1226820"/>
                  <a:pt x="11393903" y="3526232"/>
                  <a:pt x="11393903" y="6362700"/>
                </a:cubicBezTo>
                <a:cubicBezTo>
                  <a:pt x="11393903" y="9199168"/>
                  <a:pt x="13693315" y="11498580"/>
                  <a:pt x="16529782" y="11498580"/>
                </a:cubicBezTo>
                <a:cubicBezTo>
                  <a:pt x="19366250" y="11498580"/>
                  <a:pt x="21665662" y="9199168"/>
                  <a:pt x="21665662" y="6362700"/>
                </a:cubicBezTo>
                <a:cubicBezTo>
                  <a:pt x="21665662" y="3526232"/>
                  <a:pt x="19366250" y="1226820"/>
                  <a:pt x="16529782" y="1226820"/>
                </a:cubicBezTo>
                <a:close/>
                <a:moveTo>
                  <a:pt x="0" y="0"/>
                </a:moveTo>
                <a:lnTo>
                  <a:pt x="22860000" y="0"/>
                </a:lnTo>
                <a:lnTo>
                  <a:pt x="22860000" y="12344400"/>
                </a:lnTo>
                <a:lnTo>
                  <a:pt x="0" y="12344400"/>
                </a:lnTo>
                <a:close/>
              </a:path>
            </a:pathLst>
          </a:custGeom>
          <a:gradFill>
            <a:gsLst>
              <a:gs pos="99000">
                <a:srgbClr val="21AD84"/>
              </a:gs>
              <a:gs pos="52000">
                <a:srgbClr val="7030A0">
                  <a:alpha val="79000"/>
                </a:srgbClr>
              </a:gs>
              <a:gs pos="0">
                <a:srgbClr val="DD02F8">
                  <a:alpha val="68000"/>
                </a:srgb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vi-VN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E3C19B3C-54E8-9D56-9BA2-619962229097}"/>
              </a:ext>
            </a:extLst>
          </p:cNvPr>
          <p:cNvSpPr/>
          <p:nvPr/>
        </p:nvSpPr>
        <p:spPr>
          <a:xfrm>
            <a:off x="381743" y="343302"/>
            <a:ext cx="11428512" cy="6171396"/>
          </a:xfrm>
          <a:custGeom>
            <a:avLst/>
            <a:gdLst>
              <a:gd name="connsiteX0" fmla="*/ 16529782 w 22860000"/>
              <a:gd name="connsiteY0" fmla="*/ 190500 h 12344400"/>
              <a:gd name="connsiteX1" fmla="*/ 10548083 w 22860000"/>
              <a:gd name="connsiteY1" fmla="*/ 6172200 h 12344400"/>
              <a:gd name="connsiteX2" fmla="*/ 16529782 w 22860000"/>
              <a:gd name="connsiteY2" fmla="*/ 12153900 h 12344400"/>
              <a:gd name="connsiteX3" fmla="*/ 22511482 w 22860000"/>
              <a:gd name="connsiteY3" fmla="*/ 6172200 h 12344400"/>
              <a:gd name="connsiteX4" fmla="*/ 16529782 w 22860000"/>
              <a:gd name="connsiteY4" fmla="*/ 190500 h 12344400"/>
              <a:gd name="connsiteX5" fmla="*/ 0 w 22860000"/>
              <a:gd name="connsiteY5" fmla="*/ 0 h 12344400"/>
              <a:gd name="connsiteX6" fmla="*/ 22860000 w 22860000"/>
              <a:gd name="connsiteY6" fmla="*/ 0 h 12344400"/>
              <a:gd name="connsiteX7" fmla="*/ 22860000 w 22860000"/>
              <a:gd name="connsiteY7" fmla="*/ 12344400 h 12344400"/>
              <a:gd name="connsiteX8" fmla="*/ 0 w 22860000"/>
              <a:gd name="connsiteY8" fmla="*/ 12344400 h 123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60000" h="12344400">
                <a:moveTo>
                  <a:pt x="16529782" y="190500"/>
                </a:moveTo>
                <a:cubicBezTo>
                  <a:pt x="13226181" y="190500"/>
                  <a:pt x="10548083" y="2868598"/>
                  <a:pt x="10548083" y="6172200"/>
                </a:cubicBezTo>
                <a:cubicBezTo>
                  <a:pt x="10548083" y="9475802"/>
                  <a:pt x="13226181" y="12153900"/>
                  <a:pt x="16529782" y="12153900"/>
                </a:cubicBezTo>
                <a:cubicBezTo>
                  <a:pt x="19833386" y="12153900"/>
                  <a:pt x="22511482" y="9475802"/>
                  <a:pt x="22511482" y="6172200"/>
                </a:cubicBezTo>
                <a:cubicBezTo>
                  <a:pt x="22511482" y="2868598"/>
                  <a:pt x="19833386" y="190500"/>
                  <a:pt x="16529782" y="190500"/>
                </a:cubicBezTo>
                <a:close/>
                <a:moveTo>
                  <a:pt x="0" y="0"/>
                </a:moveTo>
                <a:lnTo>
                  <a:pt x="22860000" y="0"/>
                </a:lnTo>
                <a:lnTo>
                  <a:pt x="22860000" y="12344400"/>
                </a:lnTo>
                <a:lnTo>
                  <a:pt x="0" y="12344400"/>
                </a:lnTo>
                <a:close/>
              </a:path>
            </a:pathLst>
          </a:custGeom>
          <a:solidFill>
            <a:schemeClr val="bg1">
              <a:alpha val="44000"/>
            </a:schemeClr>
          </a:solidFill>
          <a:ln>
            <a:noFill/>
          </a:ln>
          <a:effectLst>
            <a:outerShdw blurRad="1270000" dist="266700" algn="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vi-VN" sz="90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728DB54B-D064-C7AE-DD91-A4C74906B2B9}"/>
              </a:ext>
            </a:extLst>
          </p:cNvPr>
          <p:cNvSpPr/>
          <p:nvPr/>
        </p:nvSpPr>
        <p:spPr>
          <a:xfrm>
            <a:off x="381745" y="343302"/>
            <a:ext cx="11428511" cy="6170994"/>
          </a:xfrm>
          <a:custGeom>
            <a:avLst/>
            <a:gdLst>
              <a:gd name="connsiteX0" fmla="*/ 22859999 w 22859999"/>
              <a:gd name="connsiteY0" fmla="*/ 8966371 h 12344400"/>
              <a:gd name="connsiteX1" fmla="*/ 22859999 w 22859999"/>
              <a:gd name="connsiteY1" fmla="*/ 12344400 h 12344400"/>
              <a:gd name="connsiteX2" fmla="*/ 19656609 w 22859999"/>
              <a:gd name="connsiteY2" fmla="*/ 12344400 h 12344400"/>
              <a:gd name="connsiteX3" fmla="*/ 19828049 w 22859999"/>
              <a:gd name="connsiteY3" fmla="*/ 12256594 h 12344400"/>
              <a:gd name="connsiteX4" fmla="*/ 22766987 w 22859999"/>
              <a:gd name="connsiteY4" fmla="*/ 9172110 h 12344400"/>
              <a:gd name="connsiteX5" fmla="*/ 19656609 w 22859999"/>
              <a:gd name="connsiteY5" fmla="*/ 0 h 12344400"/>
              <a:gd name="connsiteX6" fmla="*/ 22859999 w 22859999"/>
              <a:gd name="connsiteY6" fmla="*/ 0 h 12344400"/>
              <a:gd name="connsiteX7" fmla="*/ 22859999 w 22859999"/>
              <a:gd name="connsiteY7" fmla="*/ 3378029 h 12344400"/>
              <a:gd name="connsiteX8" fmla="*/ 22766987 w 22859999"/>
              <a:gd name="connsiteY8" fmla="*/ 3172291 h 12344400"/>
              <a:gd name="connsiteX9" fmla="*/ 19828049 w 22859999"/>
              <a:gd name="connsiteY9" fmla="*/ 87806 h 12344400"/>
              <a:gd name="connsiteX10" fmla="*/ 0 w 22859999"/>
              <a:gd name="connsiteY10" fmla="*/ 0 h 12344400"/>
              <a:gd name="connsiteX11" fmla="*/ 13402954 w 22859999"/>
              <a:gd name="connsiteY11" fmla="*/ 0 h 12344400"/>
              <a:gd name="connsiteX12" fmla="*/ 13231515 w 22859999"/>
              <a:gd name="connsiteY12" fmla="*/ 87806 h 12344400"/>
              <a:gd name="connsiteX13" fmla="*/ 9610236 w 22859999"/>
              <a:gd name="connsiteY13" fmla="*/ 6172200 h 12344400"/>
              <a:gd name="connsiteX14" fmla="*/ 13231515 w 22859999"/>
              <a:gd name="connsiteY14" fmla="*/ 12256594 h 12344400"/>
              <a:gd name="connsiteX15" fmla="*/ 13402954 w 22859999"/>
              <a:gd name="connsiteY15" fmla="*/ 12344400 h 12344400"/>
              <a:gd name="connsiteX16" fmla="*/ 0 w 22859999"/>
              <a:gd name="connsiteY16" fmla="*/ 12344400 h 123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2859999" h="12344400">
                <a:moveTo>
                  <a:pt x="22859999" y="8966371"/>
                </a:moveTo>
                <a:lnTo>
                  <a:pt x="22859999" y="12344400"/>
                </a:lnTo>
                <a:lnTo>
                  <a:pt x="19656609" y="12344400"/>
                </a:lnTo>
                <a:lnTo>
                  <a:pt x="19828049" y="12256594"/>
                </a:lnTo>
                <a:cubicBezTo>
                  <a:pt x="21102637" y="11564196"/>
                  <a:pt x="22135349" y="10482969"/>
                  <a:pt x="22766987" y="9172110"/>
                </a:cubicBezTo>
                <a:close/>
                <a:moveTo>
                  <a:pt x="19656609" y="0"/>
                </a:moveTo>
                <a:lnTo>
                  <a:pt x="22859999" y="0"/>
                </a:lnTo>
                <a:lnTo>
                  <a:pt x="22859999" y="3378029"/>
                </a:lnTo>
                <a:lnTo>
                  <a:pt x="22766987" y="3172291"/>
                </a:lnTo>
                <a:cubicBezTo>
                  <a:pt x="22135349" y="1861432"/>
                  <a:pt x="21102637" y="780204"/>
                  <a:pt x="19828049" y="87806"/>
                </a:cubicBezTo>
                <a:close/>
                <a:moveTo>
                  <a:pt x="0" y="0"/>
                </a:moveTo>
                <a:lnTo>
                  <a:pt x="13402954" y="0"/>
                </a:lnTo>
                <a:lnTo>
                  <a:pt x="13231515" y="87806"/>
                </a:lnTo>
                <a:cubicBezTo>
                  <a:pt x="11074519" y="1259557"/>
                  <a:pt x="9610236" y="3544878"/>
                  <a:pt x="9610236" y="6172200"/>
                </a:cubicBezTo>
                <a:cubicBezTo>
                  <a:pt x="9610236" y="8799523"/>
                  <a:pt x="11074519" y="11084843"/>
                  <a:pt x="13231515" y="12256594"/>
                </a:cubicBezTo>
                <a:lnTo>
                  <a:pt x="13402954" y="12344400"/>
                </a:lnTo>
                <a:lnTo>
                  <a:pt x="0" y="12344400"/>
                </a:lnTo>
                <a:close/>
              </a:path>
            </a:pathLst>
          </a:custGeom>
          <a:solidFill>
            <a:schemeClr val="bg1">
              <a:alpha val="6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vi-VN" sz="90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D4A90CE-3C65-851B-CACA-0AA104E19C32}"/>
              </a:ext>
            </a:extLst>
          </p:cNvPr>
          <p:cNvSpPr/>
          <p:nvPr/>
        </p:nvSpPr>
        <p:spPr>
          <a:xfrm>
            <a:off x="895135" y="1698046"/>
            <a:ext cx="4251295" cy="2104697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r>
              <a:rPr lang="en-US" sz="4000" spc="-150" dirty="0">
                <a:solidFill>
                  <a:schemeClr val="tx1">
                    <a:lumMod val="95000"/>
                    <a:lumOff val="5000"/>
                  </a:schemeClr>
                </a:solidFill>
                <a:ea typeface="Open Sans" panose="020B0606030504020204" pitchFamily="34" charset="0"/>
                <a:cs typeface="Poppins" panose="00000500000000000000" pitchFamily="50" charset="0"/>
              </a:rPr>
              <a:t>The</a:t>
            </a:r>
            <a:endParaRPr lang="en-US" sz="4000" b="1" spc="-150" dirty="0">
              <a:solidFill>
                <a:schemeClr val="tx1">
                  <a:lumMod val="95000"/>
                  <a:lumOff val="5000"/>
                </a:schemeClr>
              </a:solidFill>
              <a:ea typeface="Open Sans" panose="020B0606030504020204" pitchFamily="34" charset="0"/>
              <a:cs typeface="Poppins" panose="00000500000000000000" pitchFamily="50" charset="0"/>
            </a:endParaRPr>
          </a:p>
          <a:p>
            <a:r>
              <a:rPr lang="en-US" sz="4000" b="1" spc="-150" dirty="0">
                <a:solidFill>
                  <a:schemeClr val="tx1">
                    <a:lumMod val="95000"/>
                    <a:lumOff val="5000"/>
                  </a:schemeClr>
                </a:solidFill>
                <a:ea typeface="Open Sans" panose="020B0606030504020204" pitchFamily="34" charset="0"/>
                <a:cs typeface="Poppins" panose="00000500000000000000" pitchFamily="50" charset="0"/>
              </a:rPr>
              <a:t>Evolution of Computer Vision</a:t>
            </a:r>
          </a:p>
          <a:p>
            <a:r>
              <a:rPr lang="en-US" sz="4000" spc="-150" dirty="0">
                <a:solidFill>
                  <a:schemeClr val="tx1">
                    <a:lumMod val="95000"/>
                    <a:lumOff val="5000"/>
                  </a:schemeClr>
                </a:solidFill>
                <a:ea typeface="Open Sans" panose="020B0606030504020204" pitchFamily="34" charset="0"/>
                <a:cs typeface="Poppins" panose="00000500000000000000" pitchFamily="50" charset="0"/>
              </a:rPr>
              <a:t>1970s – 1980s</a:t>
            </a:r>
          </a:p>
        </p:txBody>
      </p:sp>
      <p:sp>
        <p:nvSpPr>
          <p:cNvPr id="8" name="Title 11">
            <a:extLst>
              <a:ext uri="{FF2B5EF4-FFF2-40B4-BE49-F238E27FC236}">
                <a16:creationId xmlns:a16="http://schemas.microsoft.com/office/drawing/2014/main" id="{DD1E9366-8C7C-5F35-29EA-7B30553207ED}"/>
              </a:ext>
            </a:extLst>
          </p:cNvPr>
          <p:cNvSpPr txBox="1">
            <a:spLocks/>
          </p:cNvSpPr>
          <p:nvPr/>
        </p:nvSpPr>
        <p:spPr>
          <a:xfrm>
            <a:off x="895136" y="4498306"/>
            <a:ext cx="3757416" cy="57659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Open Sans Light" panose="020B0306030504020204" pitchFamily="34" charset="0"/>
                <a:cs typeface="Poppins" panose="00000500000000000000" pitchFamily="50" charset="0"/>
              </a:rPr>
              <a:t>Rubén Valenzuela</a:t>
            </a:r>
          </a:p>
          <a:p>
            <a:pPr algn="l"/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Open Sans Light" panose="020B0306030504020204" pitchFamily="34" charset="0"/>
                <a:cs typeface="Poppins" panose="00000500000000000000" pitchFamily="50" charset="0"/>
              </a:rPr>
              <a:t>January - 2025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C94FD89-93E5-CC53-0144-B98FD1E60E4C}"/>
              </a:ext>
            </a:extLst>
          </p:cNvPr>
          <p:cNvCxnSpPr>
            <a:cxnSpLocks/>
          </p:cNvCxnSpPr>
          <p:nvPr/>
        </p:nvCxnSpPr>
        <p:spPr>
          <a:xfrm>
            <a:off x="1028486" y="4207892"/>
            <a:ext cx="1271092" cy="0"/>
          </a:xfrm>
          <a:prstGeom prst="line">
            <a:avLst/>
          </a:prstGeom>
          <a:ln w="28575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agen 1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80" t="-556" r="30183" b="556"/>
          <a:stretch/>
        </p:blipFill>
        <p:spPr>
          <a:xfrm>
            <a:off x="5979884" y="950685"/>
            <a:ext cx="5337909" cy="5155924"/>
          </a:xfrm>
          <a:prstGeom prst="ellipse">
            <a:avLst/>
          </a:prstGeom>
          <a:noFill/>
          <a:ln w="63500" cap="rnd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4036464172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36C20A-12F1-BEBE-2A37-263CEB8B1F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34">
            <a:extLst>
              <a:ext uri="{FF2B5EF4-FFF2-40B4-BE49-F238E27FC236}">
                <a16:creationId xmlns:a16="http://schemas.microsoft.com/office/drawing/2014/main" id="{372322A4-1177-0B0B-12BC-5A95C59F478F}"/>
              </a:ext>
            </a:extLst>
          </p:cNvPr>
          <p:cNvGrpSpPr/>
          <p:nvPr/>
        </p:nvGrpSpPr>
        <p:grpSpPr>
          <a:xfrm>
            <a:off x="339769" y="217506"/>
            <a:ext cx="1832368" cy="461665"/>
            <a:chOff x="342905" y="6473150"/>
            <a:chExt cx="1832368" cy="461665"/>
          </a:xfrm>
        </p:grpSpPr>
        <p:sp>
          <p:nvSpPr>
            <p:cNvPr id="34" name="Rectangle: Rounded Corners 35">
              <a:extLst>
                <a:ext uri="{FF2B5EF4-FFF2-40B4-BE49-F238E27FC236}">
                  <a16:creationId xmlns:a16="http://schemas.microsoft.com/office/drawing/2014/main" id="{D622E8C9-5F37-5C65-ABFF-591BF8A7E798}"/>
                </a:ext>
              </a:extLst>
            </p:cNvPr>
            <p:cNvSpPr/>
            <p:nvPr/>
          </p:nvSpPr>
          <p:spPr>
            <a:xfrm>
              <a:off x="359247" y="6484041"/>
              <a:ext cx="1816026" cy="317500"/>
            </a:xfrm>
            <a:prstGeom prst="roundRect">
              <a:avLst>
                <a:gd name="adj" fmla="val 50000"/>
              </a:avLst>
            </a:prstGeom>
            <a:solidFill>
              <a:srgbClr val="21AD8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TextBox 36">
              <a:extLst>
                <a:ext uri="{FF2B5EF4-FFF2-40B4-BE49-F238E27FC236}">
                  <a16:creationId xmlns:a16="http://schemas.microsoft.com/office/drawing/2014/main" id="{3D2E3E85-74A1-E68D-1F33-5053C9948E14}"/>
                </a:ext>
              </a:extLst>
            </p:cNvPr>
            <p:cNvSpPr txBox="1"/>
            <p:nvPr/>
          </p:nvSpPr>
          <p:spPr>
            <a:xfrm>
              <a:off x="342905" y="6473150"/>
              <a:ext cx="132397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800" dirty="0">
                  <a:solidFill>
                    <a:schemeClr val="bg1"/>
                  </a:solidFill>
                  <a:ea typeface="Open Sans" panose="020B0606030504020204" pitchFamily="34" charset="0"/>
                  <a:cs typeface="Poppins" panose="00000500000000000000" pitchFamily="50" charset="0"/>
                </a:rPr>
                <a:t>The </a:t>
              </a:r>
              <a:r>
                <a:rPr lang="en-US" sz="800" b="1" dirty="0">
                  <a:solidFill>
                    <a:schemeClr val="bg1"/>
                  </a:solidFill>
                  <a:ea typeface="Open Sans" panose="020B0606030504020204" pitchFamily="34" charset="0"/>
                  <a:cs typeface="Poppins" panose="00000500000000000000" pitchFamily="50" charset="0"/>
                </a:rPr>
                <a:t>Evolution of Computer Vision </a:t>
              </a:r>
              <a:r>
                <a:rPr lang="en-US" sz="700" dirty="0">
                  <a:solidFill>
                    <a:schemeClr val="bg1"/>
                  </a:solidFill>
                  <a:ea typeface="Open Sans" panose="020B0606030504020204" pitchFamily="34" charset="0"/>
                  <a:cs typeface="Poppins" panose="00000500000000000000" pitchFamily="50" charset="0"/>
                </a:rPr>
                <a:t>1970s – 1980s</a:t>
              </a:r>
            </a:p>
            <a:p>
              <a:pPr algn="r"/>
              <a:endParaRPr lang="en-US" sz="800" b="1" dirty="0">
                <a:solidFill>
                  <a:schemeClr val="bg1"/>
                </a:solidFill>
                <a:ea typeface="Open Sans" panose="020B0606030504020204" pitchFamily="34" charset="0"/>
                <a:cs typeface="Poppins" panose="00000500000000000000" pitchFamily="50" charset="0"/>
              </a:endParaRPr>
            </a:p>
          </p:txBody>
        </p:sp>
        <p:sp>
          <p:nvSpPr>
            <p:cNvPr id="36" name="Rectangle: Rounded Corners 37">
              <a:extLst>
                <a:ext uri="{FF2B5EF4-FFF2-40B4-BE49-F238E27FC236}">
                  <a16:creationId xmlns:a16="http://schemas.microsoft.com/office/drawing/2014/main" id="{72CEFE7C-EA20-BEBE-CB39-7C7F094B2DD5}"/>
                </a:ext>
              </a:extLst>
            </p:cNvPr>
            <p:cNvSpPr/>
            <p:nvPr/>
          </p:nvSpPr>
          <p:spPr>
            <a:xfrm>
              <a:off x="1653778" y="6484041"/>
              <a:ext cx="521495" cy="31750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99000">
                  <a:srgbClr val="21AD84"/>
                </a:gs>
                <a:gs pos="52000">
                  <a:srgbClr val="7030A0">
                    <a:alpha val="79000"/>
                  </a:srgbClr>
                </a:gs>
                <a:gs pos="0">
                  <a:srgbClr val="DD02F8">
                    <a:alpha val="68000"/>
                  </a:srgbClr>
                </a:gs>
              </a:gsLst>
              <a:lin ang="10800000" scaled="1"/>
              <a:tileRect/>
            </a:gra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9" name="Marcador de posición de imagen 8"/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1" r="666"/>
          <a:stretch/>
        </p:blipFill>
        <p:spPr>
          <a:xfrm>
            <a:off x="9047163" y="3536950"/>
            <a:ext cx="2655887" cy="2781300"/>
          </a:xfrm>
          <a:solidFill>
            <a:schemeClr val="bg1">
              <a:lumMod val="95000"/>
            </a:schemeClr>
          </a:solidFill>
        </p:spPr>
      </p:pic>
      <p:pic>
        <p:nvPicPr>
          <p:cNvPr id="4" name="Marcador de posición de imagen 3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34" r="20512"/>
          <a:stretch/>
        </p:blipFill>
        <p:spPr>
          <a:xfrm>
            <a:off x="582613" y="942975"/>
            <a:ext cx="2842919" cy="2578100"/>
          </a:xfrm>
          <a:solidFill>
            <a:schemeClr val="bg1">
              <a:lumMod val="95000"/>
            </a:schemeClr>
          </a:solidFill>
        </p:spPr>
      </p:pic>
      <p:sp>
        <p:nvSpPr>
          <p:cNvPr id="10" name="Title 11">
            <a:extLst>
              <a:ext uri="{FF2B5EF4-FFF2-40B4-BE49-F238E27FC236}">
                <a16:creationId xmlns:a16="http://schemas.microsoft.com/office/drawing/2014/main" id="{99306031-2F4D-C294-D9FF-7953C9E1BB3F}"/>
              </a:ext>
            </a:extLst>
          </p:cNvPr>
          <p:cNvSpPr txBox="1">
            <a:spLocks/>
          </p:cNvSpPr>
          <p:nvPr/>
        </p:nvSpPr>
        <p:spPr>
          <a:xfrm>
            <a:off x="471055" y="3655108"/>
            <a:ext cx="6697713" cy="801005"/>
          </a:xfrm>
          <a:prstGeom prst="rect">
            <a:avLst/>
          </a:prstGeom>
        </p:spPr>
        <p:txBody>
          <a:bodyPr vert="horz" wrap="square" lIns="91416" tIns="45708" rIns="91416" bIns="45708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Roboto" panose="02000000000000000000" pitchFamily="2" charset="0"/>
                <a:cs typeface="Poppins" panose="00000500000000000000" pitchFamily="50" charset="0"/>
              </a:rPr>
              <a:t>MODERN IMPACT AND LEGACY</a:t>
            </a:r>
          </a:p>
        </p:txBody>
      </p:sp>
      <p:sp>
        <p:nvSpPr>
          <p:cNvPr id="6" name="Rectangle: Single Corner Rounded 5">
            <a:extLst>
              <a:ext uri="{FF2B5EF4-FFF2-40B4-BE49-F238E27FC236}">
                <a16:creationId xmlns:a16="http://schemas.microsoft.com/office/drawing/2014/main" id="{6B5286EB-5560-68BE-AF9B-1E539DC43A9A}"/>
              </a:ext>
            </a:extLst>
          </p:cNvPr>
          <p:cNvSpPr/>
          <p:nvPr/>
        </p:nvSpPr>
        <p:spPr>
          <a:xfrm rot="10800000" flipH="1" flipV="1">
            <a:off x="9047104" y="942941"/>
            <a:ext cx="2656240" cy="2578098"/>
          </a:xfrm>
          <a:prstGeom prst="round1Rect">
            <a:avLst>
              <a:gd name="adj" fmla="val 10335"/>
            </a:avLst>
          </a:prstGeom>
          <a:solidFill>
            <a:srgbClr val="4C53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anose="00000500000000000000" pitchFamily="2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2ECA9C2-3EE9-48C7-EBF6-B46AD5C16F8F}"/>
              </a:ext>
            </a:extLst>
          </p:cNvPr>
          <p:cNvSpPr/>
          <p:nvPr/>
        </p:nvSpPr>
        <p:spPr>
          <a:xfrm flipH="1">
            <a:off x="3425531" y="942938"/>
            <a:ext cx="2965327" cy="2588261"/>
          </a:xfrm>
          <a:prstGeom prst="rect">
            <a:avLst/>
          </a:prstGeom>
          <a:solidFill>
            <a:srgbClr val="21AD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anose="00000500000000000000" pitchFamily="2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6C2F8D0-28F5-03BD-8D03-5C3CE2AF875E}"/>
              </a:ext>
            </a:extLst>
          </p:cNvPr>
          <p:cNvSpPr/>
          <p:nvPr/>
        </p:nvSpPr>
        <p:spPr>
          <a:xfrm flipH="1">
            <a:off x="6390861" y="3521039"/>
            <a:ext cx="2656241" cy="2796634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anose="00000500000000000000" pitchFamily="2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124A1F9-5574-57AA-1286-4258F261BC4E}"/>
              </a:ext>
            </a:extLst>
          </p:cNvPr>
          <p:cNvSpPr/>
          <p:nvPr/>
        </p:nvSpPr>
        <p:spPr>
          <a:xfrm>
            <a:off x="471055" y="4423353"/>
            <a:ext cx="5611090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s-VE" sz="1400" dirty="0" err="1"/>
              <a:t>The</a:t>
            </a:r>
            <a:r>
              <a:rPr lang="es-VE" sz="1400" dirty="0"/>
              <a:t> </a:t>
            </a:r>
            <a:r>
              <a:rPr lang="es-VE" sz="1400" dirty="0" err="1"/>
              <a:t>advancements</a:t>
            </a:r>
            <a:r>
              <a:rPr lang="es-VE" sz="1400" dirty="0"/>
              <a:t> </a:t>
            </a:r>
            <a:r>
              <a:rPr lang="es-VE" sz="1400" dirty="0" err="1"/>
              <a:t>made</a:t>
            </a:r>
            <a:r>
              <a:rPr lang="es-VE" sz="1400" dirty="0"/>
              <a:t> in </a:t>
            </a:r>
            <a:r>
              <a:rPr lang="es-VE" sz="1400" dirty="0" err="1"/>
              <a:t>the</a:t>
            </a:r>
            <a:r>
              <a:rPr lang="es-VE" sz="1400" dirty="0"/>
              <a:t> 1970s and 1980s </a:t>
            </a:r>
            <a:r>
              <a:rPr lang="es-VE" sz="1400" dirty="0" err="1"/>
              <a:t>have</a:t>
            </a:r>
            <a:r>
              <a:rPr lang="es-VE" sz="1400" dirty="0"/>
              <a:t> </a:t>
            </a:r>
            <a:r>
              <a:rPr lang="es-VE" sz="1400" dirty="0" err="1"/>
              <a:t>had</a:t>
            </a:r>
            <a:r>
              <a:rPr lang="es-VE" sz="1400" dirty="0"/>
              <a:t> a </a:t>
            </a:r>
            <a:r>
              <a:rPr lang="es-VE" sz="1400" dirty="0" err="1"/>
              <a:t>lasting</a:t>
            </a:r>
            <a:r>
              <a:rPr lang="es-VE" sz="1400" dirty="0"/>
              <a:t> </a:t>
            </a:r>
            <a:r>
              <a:rPr lang="es-VE" sz="1400" dirty="0" err="1"/>
              <a:t>impact</a:t>
            </a:r>
            <a:r>
              <a:rPr lang="es-VE" sz="1400" dirty="0"/>
              <a:t> </a:t>
            </a:r>
            <a:r>
              <a:rPr lang="es-VE" sz="1400" dirty="0" err="1"/>
              <a:t>on</a:t>
            </a:r>
            <a:r>
              <a:rPr lang="es-VE" sz="1400" dirty="0"/>
              <a:t> </a:t>
            </a:r>
            <a:r>
              <a:rPr lang="es-VE" sz="1400" dirty="0" err="1"/>
              <a:t>modern</a:t>
            </a:r>
            <a:r>
              <a:rPr lang="es-VE" sz="1400" dirty="0"/>
              <a:t> </a:t>
            </a:r>
            <a:r>
              <a:rPr lang="es-VE" sz="1400" dirty="0" err="1"/>
              <a:t>applications</a:t>
            </a:r>
            <a:r>
              <a:rPr lang="es-VE" sz="1400" dirty="0"/>
              <a:t> </a:t>
            </a:r>
            <a:r>
              <a:rPr lang="es-VE" sz="1400" dirty="0" err="1"/>
              <a:t>like</a:t>
            </a:r>
            <a:r>
              <a:rPr lang="es-VE" sz="1400" dirty="0"/>
              <a:t> facial </a:t>
            </a:r>
            <a:r>
              <a:rPr lang="es-VE" sz="1400" dirty="0" err="1"/>
              <a:t>recognition</a:t>
            </a:r>
            <a:r>
              <a:rPr lang="es-VE" sz="1400" dirty="0"/>
              <a:t>, </a:t>
            </a:r>
            <a:r>
              <a:rPr lang="es-VE" sz="1400" dirty="0" err="1"/>
              <a:t>self-driving</a:t>
            </a:r>
            <a:r>
              <a:rPr lang="es-VE" sz="1400" dirty="0"/>
              <a:t> cars, and </a:t>
            </a:r>
            <a:r>
              <a:rPr lang="es-VE" sz="1400" dirty="0" err="1"/>
              <a:t>robotics</a:t>
            </a:r>
            <a:r>
              <a:rPr lang="es-VE" sz="1400" dirty="0"/>
              <a:t>.</a:t>
            </a:r>
          </a:p>
          <a:p>
            <a:pPr>
              <a:lnSpc>
                <a:spcPct val="150000"/>
              </a:lnSpc>
            </a:pPr>
            <a:r>
              <a:rPr lang="es-VE" sz="1400" dirty="0" err="1"/>
              <a:t>Without</a:t>
            </a:r>
            <a:r>
              <a:rPr lang="es-VE" sz="1400" dirty="0"/>
              <a:t> </a:t>
            </a:r>
            <a:r>
              <a:rPr lang="es-VE" sz="1400" dirty="0" err="1"/>
              <a:t>the</a:t>
            </a:r>
            <a:r>
              <a:rPr lang="es-VE" sz="1400" dirty="0"/>
              <a:t> </a:t>
            </a:r>
            <a:r>
              <a:rPr lang="es-VE" sz="1400" dirty="0" err="1"/>
              <a:t>foundational</a:t>
            </a:r>
            <a:r>
              <a:rPr lang="es-VE" sz="1400" dirty="0"/>
              <a:t> </a:t>
            </a:r>
            <a:r>
              <a:rPr lang="es-VE" sz="1400" dirty="0" err="1"/>
              <a:t>work</a:t>
            </a:r>
            <a:r>
              <a:rPr lang="es-VE" sz="1400" dirty="0"/>
              <a:t> of </a:t>
            </a:r>
            <a:r>
              <a:rPr lang="es-VE" sz="1400" dirty="0" err="1"/>
              <a:t>vision</a:t>
            </a:r>
            <a:r>
              <a:rPr lang="es-VE" sz="1400" dirty="0"/>
              <a:t> </a:t>
            </a:r>
            <a:r>
              <a:rPr lang="es-VE" sz="1400" dirty="0" err="1"/>
              <a:t>systems</a:t>
            </a:r>
            <a:r>
              <a:rPr lang="es-VE" sz="1400" dirty="0"/>
              <a:t> in </a:t>
            </a:r>
            <a:r>
              <a:rPr lang="es-VE" sz="1400" dirty="0" err="1"/>
              <a:t>the</a:t>
            </a:r>
            <a:r>
              <a:rPr lang="es-VE" sz="1400" dirty="0"/>
              <a:t> 1980s, </a:t>
            </a:r>
            <a:r>
              <a:rPr lang="es-VE" sz="1400" dirty="0" err="1"/>
              <a:t>today’s</a:t>
            </a:r>
            <a:r>
              <a:rPr lang="es-VE" sz="1400" dirty="0"/>
              <a:t> AI-</a:t>
            </a:r>
            <a:r>
              <a:rPr lang="es-VE" sz="1400" dirty="0" err="1"/>
              <a:t>driven</a:t>
            </a:r>
            <a:r>
              <a:rPr lang="es-VE" sz="1400" dirty="0"/>
              <a:t> </a:t>
            </a:r>
            <a:r>
              <a:rPr lang="es-VE" sz="1400" dirty="0" err="1"/>
              <a:t>technologies</a:t>
            </a:r>
            <a:r>
              <a:rPr lang="es-VE" sz="1400" dirty="0"/>
              <a:t> </a:t>
            </a:r>
            <a:r>
              <a:rPr lang="es-VE" sz="1400" dirty="0" err="1"/>
              <a:t>wouldn’t</a:t>
            </a:r>
            <a:r>
              <a:rPr lang="es-VE" sz="1400" dirty="0"/>
              <a:t> be </a:t>
            </a:r>
            <a:r>
              <a:rPr lang="es-VE" sz="1400" dirty="0" err="1"/>
              <a:t>possible</a:t>
            </a:r>
            <a:r>
              <a:rPr lang="es-VE" sz="1400" dirty="0"/>
              <a:t>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cs typeface="Segoe UI Light" panose="020B0502040204020203" pitchFamily="34" charset="0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075C1BB3-0CC9-752C-0955-A689867AB35A}"/>
              </a:ext>
            </a:extLst>
          </p:cNvPr>
          <p:cNvSpPr txBox="1">
            <a:spLocks/>
          </p:cNvSpPr>
          <p:nvPr/>
        </p:nvSpPr>
        <p:spPr>
          <a:xfrm>
            <a:off x="3856176" y="2231990"/>
            <a:ext cx="1270005" cy="550441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Source Sans Pro Black" charset="0"/>
                <a:ea typeface="Source Sans Pro Black" charset="0"/>
                <a:cs typeface="Source Sans Pro Black" charset="0"/>
              </a:defRPr>
            </a:lvl1pPr>
          </a:lstStyle>
          <a:p>
            <a:r>
              <a:rPr lang="es-VE" sz="1600" dirty="0" err="1">
                <a:solidFill>
                  <a:schemeClr val="bg1"/>
                </a:solidFill>
                <a:latin typeface="+mn-lt"/>
              </a:rPr>
              <a:t>Autonomous</a:t>
            </a:r>
            <a:r>
              <a:rPr lang="es-VE" sz="1600" dirty="0">
                <a:solidFill>
                  <a:schemeClr val="bg1"/>
                </a:solidFill>
                <a:latin typeface="+mn-lt"/>
              </a:rPr>
              <a:t> </a:t>
            </a:r>
            <a:r>
              <a:rPr lang="es-VE" sz="1600" dirty="0" err="1">
                <a:solidFill>
                  <a:schemeClr val="bg1"/>
                </a:solidFill>
                <a:latin typeface="+mn-lt"/>
              </a:rPr>
              <a:t>Vehicle</a:t>
            </a:r>
            <a:endParaRPr lang="en-US" sz="1600" dirty="0">
              <a:solidFill>
                <a:schemeClr val="bg1"/>
              </a:solidFill>
              <a:latin typeface="+mn-lt"/>
              <a:ea typeface="Source Sans Pro" charset="0"/>
              <a:cs typeface="Poppins" panose="00000500000000000000" pitchFamily="50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9573EF-2D52-C1D3-8B28-F401958225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36914" y="207190"/>
            <a:ext cx="712509" cy="365125"/>
          </a:xfrm>
        </p:spPr>
        <p:txBody>
          <a:bodyPr/>
          <a:lstStyle/>
          <a:p>
            <a:fld id="{131BCB46-63A1-4E91-AD39-9DC1D6579614}" type="slidenum">
              <a:rPr lang="en-US" sz="1600" b="1" smtClean="0">
                <a:latin typeface="+mn-lt"/>
              </a:rPr>
              <a:t>10</a:t>
            </a:fld>
            <a:endParaRPr lang="en-US" sz="1600" b="1" dirty="0">
              <a:latin typeface="+mn-lt"/>
            </a:endParaRPr>
          </a:p>
        </p:txBody>
      </p:sp>
      <p:cxnSp>
        <p:nvCxnSpPr>
          <p:cNvPr id="37" name="Straight Connector 2">
            <a:extLst>
              <a:ext uri="{FF2B5EF4-FFF2-40B4-BE49-F238E27FC236}">
                <a16:creationId xmlns:a16="http://schemas.microsoft.com/office/drawing/2014/main" id="{49620C60-7D39-3E8B-07A2-6708A02BB64E}"/>
              </a:ext>
            </a:extLst>
          </p:cNvPr>
          <p:cNvCxnSpPr>
            <a:cxnSpLocks/>
          </p:cNvCxnSpPr>
          <p:nvPr/>
        </p:nvCxnSpPr>
        <p:spPr>
          <a:xfrm>
            <a:off x="2225306" y="393627"/>
            <a:ext cx="803908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itle 11">
            <a:extLst>
              <a:ext uri="{FF2B5EF4-FFF2-40B4-BE49-F238E27FC236}">
                <a16:creationId xmlns:a16="http://schemas.microsoft.com/office/drawing/2014/main" id="{13BCB567-D330-8FD1-1DCF-CC7DC13B6EB4}"/>
              </a:ext>
            </a:extLst>
          </p:cNvPr>
          <p:cNvSpPr txBox="1">
            <a:spLocks/>
          </p:cNvSpPr>
          <p:nvPr/>
        </p:nvSpPr>
        <p:spPr>
          <a:xfrm>
            <a:off x="9530167" y="279282"/>
            <a:ext cx="2395520" cy="220940"/>
          </a:xfrm>
          <a:prstGeom prst="rect">
            <a:avLst/>
          </a:prstGeom>
        </p:spPr>
        <p:txBody>
          <a:bodyPr vert="horz" wrap="square" lIns="91416" tIns="45708" rIns="91416" bIns="45708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800" dirty="0">
                <a:solidFill>
                  <a:schemeClr val="bg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Poppins" panose="00000500000000000000" pitchFamily="50" charset="0"/>
              </a:rPr>
              <a:t>Modern Impact</a:t>
            </a:r>
          </a:p>
        </p:txBody>
      </p:sp>
      <p:pic>
        <p:nvPicPr>
          <p:cNvPr id="8" name="Marcador de posición de imagen 7"/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58" r="13941"/>
          <a:stretch/>
        </p:blipFill>
        <p:spPr>
          <a:xfrm>
            <a:off x="6081713" y="942975"/>
            <a:ext cx="2965450" cy="2587625"/>
          </a:xfrm>
          <a:solidFill>
            <a:schemeClr val="bg1">
              <a:lumMod val="95000"/>
            </a:schemeClr>
          </a:solidFill>
        </p:spPr>
      </p:pic>
      <p:sp>
        <p:nvSpPr>
          <p:cNvPr id="39" name="Title 1">
            <a:extLst>
              <a:ext uri="{FF2B5EF4-FFF2-40B4-BE49-F238E27FC236}">
                <a16:creationId xmlns:a16="http://schemas.microsoft.com/office/drawing/2014/main" id="{075C1BB3-0CC9-752C-0955-A689867AB35A}"/>
              </a:ext>
            </a:extLst>
          </p:cNvPr>
          <p:cNvSpPr txBox="1">
            <a:spLocks/>
          </p:cNvSpPr>
          <p:nvPr/>
        </p:nvSpPr>
        <p:spPr>
          <a:xfrm>
            <a:off x="9384140" y="2231990"/>
            <a:ext cx="1270005" cy="550441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Source Sans Pro Black" charset="0"/>
                <a:ea typeface="Source Sans Pro Black" charset="0"/>
                <a:cs typeface="Source Sans Pro Black" charset="0"/>
              </a:defRPr>
            </a:lvl1pPr>
          </a:lstStyle>
          <a:p>
            <a:r>
              <a:rPr lang="es-VE" sz="1600" dirty="0">
                <a:solidFill>
                  <a:schemeClr val="bg1"/>
                </a:solidFill>
                <a:latin typeface="+mn-lt"/>
              </a:rPr>
              <a:t>Facial </a:t>
            </a:r>
            <a:r>
              <a:rPr lang="es-VE" sz="1600" dirty="0" err="1">
                <a:solidFill>
                  <a:schemeClr val="bg1"/>
                </a:solidFill>
                <a:latin typeface="+mn-lt"/>
              </a:rPr>
              <a:t>Recognition</a:t>
            </a:r>
            <a:endParaRPr lang="en-US" sz="1600" dirty="0">
              <a:solidFill>
                <a:schemeClr val="bg1"/>
              </a:solidFill>
              <a:latin typeface="+mn-lt"/>
              <a:ea typeface="Source Sans Pro" charset="0"/>
              <a:cs typeface="Poppins" panose="00000500000000000000" pitchFamily="50" charset="0"/>
            </a:endParaRPr>
          </a:p>
        </p:txBody>
      </p:sp>
      <p:sp>
        <p:nvSpPr>
          <p:cNvPr id="40" name="Title 1">
            <a:extLst>
              <a:ext uri="{FF2B5EF4-FFF2-40B4-BE49-F238E27FC236}">
                <a16:creationId xmlns:a16="http://schemas.microsoft.com/office/drawing/2014/main" id="{075C1BB3-0CC9-752C-0955-A689867AB35A}"/>
              </a:ext>
            </a:extLst>
          </p:cNvPr>
          <p:cNvSpPr txBox="1">
            <a:spLocks/>
          </p:cNvSpPr>
          <p:nvPr/>
        </p:nvSpPr>
        <p:spPr>
          <a:xfrm>
            <a:off x="6807194" y="5113079"/>
            <a:ext cx="1270005" cy="550441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Source Sans Pro Black" charset="0"/>
                <a:ea typeface="Source Sans Pro Black" charset="0"/>
                <a:cs typeface="Source Sans Pro Black" charset="0"/>
              </a:defRPr>
            </a:lvl1pPr>
          </a:lstStyle>
          <a:p>
            <a:r>
              <a:rPr lang="es-VE" sz="1600" dirty="0">
                <a:solidFill>
                  <a:schemeClr val="bg1"/>
                </a:solidFill>
                <a:latin typeface="+mn-lt"/>
              </a:rPr>
              <a:t>AI in </a:t>
            </a:r>
          </a:p>
          <a:p>
            <a:r>
              <a:rPr lang="es-VE" sz="1600" dirty="0">
                <a:solidFill>
                  <a:schemeClr val="bg1"/>
                </a:solidFill>
                <a:latin typeface="+mn-lt"/>
              </a:rPr>
              <a:t>Medicine</a:t>
            </a:r>
            <a:endParaRPr lang="en-US" sz="1600" dirty="0">
              <a:solidFill>
                <a:schemeClr val="bg1"/>
              </a:solidFill>
              <a:latin typeface="+mn-lt"/>
              <a:ea typeface="Source Sans Pro" charset="0"/>
              <a:cs typeface="Poppins" panose="000005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5303746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8C3A61-2E19-3CC5-1FA8-F4DA128DD8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34">
            <a:extLst>
              <a:ext uri="{FF2B5EF4-FFF2-40B4-BE49-F238E27FC236}">
                <a16:creationId xmlns:a16="http://schemas.microsoft.com/office/drawing/2014/main" id="{372322A4-1177-0B0B-12BC-5A95C59F478F}"/>
              </a:ext>
            </a:extLst>
          </p:cNvPr>
          <p:cNvGrpSpPr/>
          <p:nvPr/>
        </p:nvGrpSpPr>
        <p:grpSpPr>
          <a:xfrm>
            <a:off x="339769" y="217506"/>
            <a:ext cx="1832368" cy="461665"/>
            <a:chOff x="342905" y="6473150"/>
            <a:chExt cx="1832368" cy="461665"/>
          </a:xfrm>
        </p:grpSpPr>
        <p:sp>
          <p:nvSpPr>
            <p:cNvPr id="20" name="Rectangle: Rounded Corners 35">
              <a:extLst>
                <a:ext uri="{FF2B5EF4-FFF2-40B4-BE49-F238E27FC236}">
                  <a16:creationId xmlns:a16="http://schemas.microsoft.com/office/drawing/2014/main" id="{D622E8C9-5F37-5C65-ABFF-591BF8A7E798}"/>
                </a:ext>
              </a:extLst>
            </p:cNvPr>
            <p:cNvSpPr/>
            <p:nvPr/>
          </p:nvSpPr>
          <p:spPr>
            <a:xfrm>
              <a:off x="359247" y="6484041"/>
              <a:ext cx="1816026" cy="317500"/>
            </a:xfrm>
            <a:prstGeom prst="roundRect">
              <a:avLst>
                <a:gd name="adj" fmla="val 50000"/>
              </a:avLst>
            </a:prstGeom>
            <a:solidFill>
              <a:srgbClr val="21AD8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TextBox 36">
              <a:extLst>
                <a:ext uri="{FF2B5EF4-FFF2-40B4-BE49-F238E27FC236}">
                  <a16:creationId xmlns:a16="http://schemas.microsoft.com/office/drawing/2014/main" id="{3D2E3E85-74A1-E68D-1F33-5053C9948E14}"/>
                </a:ext>
              </a:extLst>
            </p:cNvPr>
            <p:cNvSpPr txBox="1"/>
            <p:nvPr/>
          </p:nvSpPr>
          <p:spPr>
            <a:xfrm>
              <a:off x="342905" y="6473150"/>
              <a:ext cx="132397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800" dirty="0">
                  <a:solidFill>
                    <a:schemeClr val="bg1"/>
                  </a:solidFill>
                  <a:ea typeface="Open Sans" panose="020B0606030504020204" pitchFamily="34" charset="0"/>
                  <a:cs typeface="Poppins" panose="00000500000000000000" pitchFamily="50" charset="0"/>
                </a:rPr>
                <a:t>The </a:t>
              </a:r>
              <a:r>
                <a:rPr lang="en-US" sz="800" b="1" dirty="0">
                  <a:solidFill>
                    <a:schemeClr val="bg1"/>
                  </a:solidFill>
                  <a:ea typeface="Open Sans" panose="020B0606030504020204" pitchFamily="34" charset="0"/>
                  <a:cs typeface="Poppins" panose="00000500000000000000" pitchFamily="50" charset="0"/>
                </a:rPr>
                <a:t>Evolution of Computer Vision </a:t>
              </a:r>
              <a:r>
                <a:rPr lang="en-US" sz="700" dirty="0">
                  <a:solidFill>
                    <a:schemeClr val="bg1"/>
                  </a:solidFill>
                  <a:ea typeface="Open Sans" panose="020B0606030504020204" pitchFamily="34" charset="0"/>
                  <a:cs typeface="Poppins" panose="00000500000000000000" pitchFamily="50" charset="0"/>
                </a:rPr>
                <a:t>1970s – 1980s</a:t>
              </a:r>
            </a:p>
            <a:p>
              <a:pPr algn="r"/>
              <a:endParaRPr lang="en-US" sz="800" b="1" dirty="0">
                <a:solidFill>
                  <a:schemeClr val="bg1"/>
                </a:solidFill>
                <a:ea typeface="Open Sans" panose="020B0606030504020204" pitchFamily="34" charset="0"/>
                <a:cs typeface="Poppins" panose="00000500000000000000" pitchFamily="50" charset="0"/>
              </a:endParaRPr>
            </a:p>
          </p:txBody>
        </p:sp>
        <p:sp>
          <p:nvSpPr>
            <p:cNvPr id="34" name="Rectangle: Rounded Corners 37">
              <a:extLst>
                <a:ext uri="{FF2B5EF4-FFF2-40B4-BE49-F238E27FC236}">
                  <a16:creationId xmlns:a16="http://schemas.microsoft.com/office/drawing/2014/main" id="{72CEFE7C-EA20-BEBE-CB39-7C7F094B2DD5}"/>
                </a:ext>
              </a:extLst>
            </p:cNvPr>
            <p:cNvSpPr/>
            <p:nvPr/>
          </p:nvSpPr>
          <p:spPr>
            <a:xfrm>
              <a:off x="1653778" y="6484041"/>
              <a:ext cx="521495" cy="31750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99000">
                  <a:srgbClr val="21AD84"/>
                </a:gs>
                <a:gs pos="52000">
                  <a:srgbClr val="7030A0">
                    <a:alpha val="79000"/>
                  </a:srgbClr>
                </a:gs>
                <a:gs pos="0">
                  <a:srgbClr val="DD02F8">
                    <a:alpha val="68000"/>
                  </a:srgbClr>
                </a:gs>
              </a:gsLst>
              <a:lin ang="10800000" scaled="1"/>
              <a:tileRect/>
            </a:gra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8" name="Marcador de posición de imagen 7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74" t="831" r="20219" b="1037"/>
          <a:stretch/>
        </p:blipFill>
        <p:spPr>
          <a:solidFill>
            <a:schemeClr val="bg1">
              <a:lumMod val="85000"/>
            </a:schemeClr>
          </a:solidFill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8CC4B414-E31A-3B77-1751-BE70425E4E68}"/>
              </a:ext>
            </a:extLst>
          </p:cNvPr>
          <p:cNvCxnSpPr>
            <a:cxnSpLocks/>
          </p:cNvCxnSpPr>
          <p:nvPr/>
        </p:nvCxnSpPr>
        <p:spPr>
          <a:xfrm>
            <a:off x="2266871" y="393627"/>
            <a:ext cx="847999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1D755A66-7A14-12C2-7C66-0B2666C75AF9}"/>
              </a:ext>
            </a:extLst>
          </p:cNvPr>
          <p:cNvSpPr/>
          <p:nvPr/>
        </p:nvSpPr>
        <p:spPr>
          <a:xfrm>
            <a:off x="276536" y="2399874"/>
            <a:ext cx="4761525" cy="3144583"/>
          </a:xfrm>
          <a:prstGeom prst="roundRect">
            <a:avLst>
              <a:gd name="adj" fmla="val 9080"/>
            </a:avLst>
          </a:prstGeom>
          <a:solidFill>
            <a:schemeClr val="bg1"/>
          </a:solidFill>
          <a:ln>
            <a:noFill/>
          </a:ln>
          <a:effectLst>
            <a:outerShdw blurRad="342900" dist="381000" dir="2700000" algn="tl" rotWithShape="0">
              <a:prstClr val="black">
                <a:alpha val="9000"/>
              </a:prstClr>
            </a:outerShd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1">
            <a:extLst>
              <a:ext uri="{FF2B5EF4-FFF2-40B4-BE49-F238E27FC236}">
                <a16:creationId xmlns:a16="http://schemas.microsoft.com/office/drawing/2014/main" id="{F55E2F2F-445A-D6A3-DD68-957BC2C72AD1}"/>
              </a:ext>
            </a:extLst>
          </p:cNvPr>
          <p:cNvSpPr txBox="1">
            <a:spLocks/>
          </p:cNvSpPr>
          <p:nvPr/>
        </p:nvSpPr>
        <p:spPr>
          <a:xfrm>
            <a:off x="591601" y="1229023"/>
            <a:ext cx="3091876" cy="1128252"/>
          </a:xfrm>
          <a:prstGeom prst="rect">
            <a:avLst/>
          </a:prstGeom>
        </p:spPr>
        <p:txBody>
          <a:bodyPr vert="horz" wrap="square" lIns="91416" tIns="45708" rIns="91416" bIns="45708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Roboto" panose="02000000000000000000" pitchFamily="2" charset="0"/>
                <a:cs typeface="Poppins" panose="00000500000000000000" pitchFamily="50" charset="0"/>
              </a:rPr>
              <a:t>CONCLUSION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A469CD5-F17E-BAF2-A067-D27600FB53DF}"/>
              </a:ext>
            </a:extLst>
          </p:cNvPr>
          <p:cNvSpPr/>
          <p:nvPr/>
        </p:nvSpPr>
        <p:spPr>
          <a:xfrm>
            <a:off x="591600" y="2601555"/>
            <a:ext cx="4161175" cy="26442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The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1970s-1980s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were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a crucial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period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in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the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development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of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computer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vision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. Key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advancements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,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such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as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Marr’s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theories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and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early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practical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applications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in medical and industrial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fields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,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laid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the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groundwork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for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today’s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AI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systems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.</a:t>
            </a:r>
          </a:p>
          <a:p>
            <a:pPr>
              <a:lnSpc>
                <a:spcPct val="150000"/>
              </a:lnSpc>
            </a:pPr>
            <a:endParaRPr lang="es-VE" sz="1400" dirty="0">
              <a:solidFill>
                <a:schemeClr val="bg2">
                  <a:lumMod val="2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The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legacy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of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this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period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continues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to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shape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the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future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of AI and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computer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vision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technologies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.</a:t>
            </a:r>
            <a:endParaRPr lang="en-US" sz="1400" dirty="0">
              <a:solidFill>
                <a:schemeClr val="bg2">
                  <a:lumMod val="25000"/>
                </a:schemeClr>
              </a:solidFill>
              <a:cs typeface="Segoe UI Light" panose="020B05020402040202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32C794-AFB7-ED05-9839-F770B4E084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30981" y="207190"/>
            <a:ext cx="712509" cy="365125"/>
          </a:xfrm>
        </p:spPr>
        <p:txBody>
          <a:bodyPr/>
          <a:lstStyle/>
          <a:p>
            <a:fld id="{131BCB46-63A1-4E91-AD39-9DC1D6579614}" type="slidenum">
              <a:rPr lang="en-US" sz="1600" b="1" smtClean="0">
                <a:latin typeface="+mn-lt"/>
              </a:rPr>
              <a:t>11</a:t>
            </a:fld>
            <a:endParaRPr lang="en-US" sz="1600" b="1" dirty="0">
              <a:latin typeface="+mn-lt"/>
            </a:endParaRPr>
          </a:p>
        </p:txBody>
      </p:sp>
      <p:sp>
        <p:nvSpPr>
          <p:cNvPr id="35" name="Title 11">
            <a:extLst>
              <a:ext uri="{FF2B5EF4-FFF2-40B4-BE49-F238E27FC236}">
                <a16:creationId xmlns:a16="http://schemas.microsoft.com/office/drawing/2014/main" id="{13BCB567-D330-8FD1-1DCF-CC7DC13B6EB4}"/>
              </a:ext>
            </a:extLst>
          </p:cNvPr>
          <p:cNvSpPr txBox="1">
            <a:spLocks/>
          </p:cNvSpPr>
          <p:nvPr/>
        </p:nvSpPr>
        <p:spPr>
          <a:xfrm>
            <a:off x="9530167" y="279282"/>
            <a:ext cx="2395520" cy="220940"/>
          </a:xfrm>
          <a:prstGeom prst="rect">
            <a:avLst/>
          </a:prstGeom>
        </p:spPr>
        <p:txBody>
          <a:bodyPr vert="horz" wrap="square" lIns="91416" tIns="45708" rIns="91416" bIns="45708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800" dirty="0">
                <a:solidFill>
                  <a:schemeClr val="bg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Poppins" panose="00000500000000000000" pitchFamily="50" charset="0"/>
              </a:rPr>
              <a:t>Conclusion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901BCBF5-9449-A112-4AFD-B649A31A8D19}"/>
              </a:ext>
            </a:extLst>
          </p:cNvPr>
          <p:cNvSpPr/>
          <p:nvPr/>
        </p:nvSpPr>
        <p:spPr>
          <a:xfrm flipH="1">
            <a:off x="591599" y="2221187"/>
            <a:ext cx="4766662" cy="103454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4C53B8"/>
              </a:gs>
              <a:gs pos="100000">
                <a:srgbClr val="21AD84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24A70F72-D474-82A1-7648-DBDA849F93D9}"/>
              </a:ext>
            </a:extLst>
          </p:cNvPr>
          <p:cNvSpPr/>
          <p:nvPr/>
        </p:nvSpPr>
        <p:spPr>
          <a:xfrm>
            <a:off x="5038061" y="1716748"/>
            <a:ext cx="1079656" cy="1079656"/>
          </a:xfrm>
          <a:prstGeom prst="roundRect">
            <a:avLst>
              <a:gd name="adj" fmla="val 50000"/>
            </a:avLst>
          </a:prstGeom>
          <a:solidFill>
            <a:srgbClr val="21AD84"/>
          </a:solidFill>
          <a:ln w="285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6" name="Group 96">
            <a:extLst>
              <a:ext uri="{FF2B5EF4-FFF2-40B4-BE49-F238E27FC236}">
                <a16:creationId xmlns:a16="http://schemas.microsoft.com/office/drawing/2014/main" id="{C5F3ACC4-BAD6-12ED-4842-1E63C470C424}"/>
              </a:ext>
            </a:extLst>
          </p:cNvPr>
          <p:cNvGrpSpPr/>
          <p:nvPr/>
        </p:nvGrpSpPr>
        <p:grpSpPr>
          <a:xfrm>
            <a:off x="5367483" y="1991459"/>
            <a:ext cx="470760" cy="468158"/>
            <a:chOff x="885825" y="785813"/>
            <a:chExt cx="287338" cy="285750"/>
          </a:xfrm>
          <a:solidFill>
            <a:schemeClr val="bg1"/>
          </a:solidFill>
        </p:grpSpPr>
        <p:sp>
          <p:nvSpPr>
            <p:cNvPr id="37" name="Freeform 169">
              <a:extLst>
                <a:ext uri="{FF2B5EF4-FFF2-40B4-BE49-F238E27FC236}">
                  <a16:creationId xmlns:a16="http://schemas.microsoft.com/office/drawing/2014/main" id="{17FA471E-A6A5-183C-3A61-71340EC7BE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825" y="868363"/>
              <a:ext cx="192088" cy="203200"/>
            </a:xfrm>
            <a:custGeom>
              <a:avLst/>
              <a:gdLst>
                <a:gd name="T0" fmla="*/ 33 w 601"/>
                <a:gd name="T1" fmla="*/ 546 h 642"/>
                <a:gd name="T2" fmla="*/ 68 w 601"/>
                <a:gd name="T3" fmla="*/ 505 h 642"/>
                <a:gd name="T4" fmla="*/ 267 w 601"/>
                <a:gd name="T5" fmla="*/ 386 h 642"/>
                <a:gd name="T6" fmla="*/ 345 w 601"/>
                <a:gd name="T7" fmla="*/ 379 h 642"/>
                <a:gd name="T8" fmla="*/ 540 w 601"/>
                <a:gd name="T9" fmla="*/ 512 h 642"/>
                <a:gd name="T10" fmla="*/ 570 w 601"/>
                <a:gd name="T11" fmla="*/ 557 h 642"/>
                <a:gd name="T12" fmla="*/ 161 w 601"/>
                <a:gd name="T13" fmla="*/ 188 h 642"/>
                <a:gd name="T14" fmla="*/ 221 w 601"/>
                <a:gd name="T15" fmla="*/ 193 h 642"/>
                <a:gd name="T16" fmla="*/ 295 w 601"/>
                <a:gd name="T17" fmla="*/ 166 h 642"/>
                <a:gd name="T18" fmla="*/ 347 w 601"/>
                <a:gd name="T19" fmla="*/ 178 h 642"/>
                <a:gd name="T20" fmla="*/ 405 w 601"/>
                <a:gd name="T21" fmla="*/ 197 h 642"/>
                <a:gd name="T22" fmla="*/ 424 w 601"/>
                <a:gd name="T23" fmla="*/ 243 h 642"/>
                <a:gd name="T24" fmla="*/ 390 w 601"/>
                <a:gd name="T25" fmla="*/ 311 h 642"/>
                <a:gd name="T26" fmla="*/ 335 w 601"/>
                <a:gd name="T27" fmla="*/ 351 h 642"/>
                <a:gd name="T28" fmla="*/ 268 w 601"/>
                <a:gd name="T29" fmla="*/ 356 h 642"/>
                <a:gd name="T30" fmla="*/ 210 w 601"/>
                <a:gd name="T31" fmla="*/ 321 h 642"/>
                <a:gd name="T32" fmla="*/ 171 w 601"/>
                <a:gd name="T33" fmla="*/ 258 h 642"/>
                <a:gd name="T34" fmla="*/ 295 w 601"/>
                <a:gd name="T35" fmla="*/ 30 h 642"/>
                <a:gd name="T36" fmla="*/ 353 w 601"/>
                <a:gd name="T37" fmla="*/ 45 h 642"/>
                <a:gd name="T38" fmla="*/ 398 w 601"/>
                <a:gd name="T39" fmla="*/ 88 h 642"/>
                <a:gd name="T40" fmla="*/ 425 w 601"/>
                <a:gd name="T41" fmla="*/ 150 h 642"/>
                <a:gd name="T42" fmla="*/ 397 w 601"/>
                <a:gd name="T43" fmla="*/ 166 h 642"/>
                <a:gd name="T44" fmla="*/ 367 w 601"/>
                <a:gd name="T45" fmla="*/ 156 h 642"/>
                <a:gd name="T46" fmla="*/ 332 w 601"/>
                <a:gd name="T47" fmla="*/ 114 h 642"/>
                <a:gd name="T48" fmla="*/ 294 w 601"/>
                <a:gd name="T49" fmla="*/ 129 h 642"/>
                <a:gd name="T50" fmla="*/ 235 w 601"/>
                <a:gd name="T51" fmla="*/ 160 h 642"/>
                <a:gd name="T52" fmla="*/ 174 w 601"/>
                <a:gd name="T53" fmla="*/ 160 h 642"/>
                <a:gd name="T54" fmla="*/ 182 w 601"/>
                <a:gd name="T55" fmla="*/ 106 h 642"/>
                <a:gd name="T56" fmla="*/ 220 w 601"/>
                <a:gd name="T57" fmla="*/ 58 h 642"/>
                <a:gd name="T58" fmla="*/ 272 w 601"/>
                <a:gd name="T59" fmla="*/ 33 h 642"/>
                <a:gd name="T60" fmla="*/ 390 w 601"/>
                <a:gd name="T61" fmla="*/ 422 h 642"/>
                <a:gd name="T62" fmla="*/ 419 w 601"/>
                <a:gd name="T63" fmla="*/ 323 h 642"/>
                <a:gd name="T64" fmla="*/ 445 w 601"/>
                <a:gd name="T65" fmla="*/ 274 h 642"/>
                <a:gd name="T66" fmla="*/ 459 w 601"/>
                <a:gd name="T67" fmla="*/ 219 h 642"/>
                <a:gd name="T68" fmla="*/ 452 w 601"/>
                <a:gd name="T69" fmla="*/ 136 h 642"/>
                <a:gd name="T70" fmla="*/ 412 w 601"/>
                <a:gd name="T71" fmla="*/ 57 h 642"/>
                <a:gd name="T72" fmla="*/ 344 w 601"/>
                <a:gd name="T73" fmla="*/ 9 h 642"/>
                <a:gd name="T74" fmla="*/ 262 w 601"/>
                <a:gd name="T75" fmla="*/ 4 h 642"/>
                <a:gd name="T76" fmla="*/ 190 w 601"/>
                <a:gd name="T77" fmla="*/ 44 h 642"/>
                <a:gd name="T78" fmla="*/ 144 w 601"/>
                <a:gd name="T79" fmla="*/ 118 h 642"/>
                <a:gd name="T80" fmla="*/ 131 w 601"/>
                <a:gd name="T81" fmla="*/ 207 h 642"/>
                <a:gd name="T82" fmla="*/ 143 w 601"/>
                <a:gd name="T83" fmla="*/ 269 h 642"/>
                <a:gd name="T84" fmla="*/ 171 w 601"/>
                <a:gd name="T85" fmla="*/ 320 h 642"/>
                <a:gd name="T86" fmla="*/ 211 w 601"/>
                <a:gd name="T87" fmla="*/ 360 h 642"/>
                <a:gd name="T88" fmla="*/ 47 w 601"/>
                <a:gd name="T89" fmla="*/ 483 h 642"/>
                <a:gd name="T90" fmla="*/ 18 w 601"/>
                <a:gd name="T91" fmla="*/ 510 h 642"/>
                <a:gd name="T92" fmla="*/ 3 w 601"/>
                <a:gd name="T93" fmla="*/ 544 h 642"/>
                <a:gd name="T94" fmla="*/ 601 w 601"/>
                <a:gd name="T95" fmla="*/ 642 h 642"/>
                <a:gd name="T96" fmla="*/ 596 w 601"/>
                <a:gd name="T97" fmla="*/ 538 h 642"/>
                <a:gd name="T98" fmla="*/ 577 w 601"/>
                <a:gd name="T99" fmla="*/ 504 h 642"/>
                <a:gd name="T100" fmla="*/ 545 w 601"/>
                <a:gd name="T101" fmla="*/ 480 h 6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1" h="642">
                  <a:moveTo>
                    <a:pt x="570" y="613"/>
                  </a:moveTo>
                  <a:lnTo>
                    <a:pt x="30" y="613"/>
                  </a:lnTo>
                  <a:lnTo>
                    <a:pt x="30" y="568"/>
                  </a:lnTo>
                  <a:lnTo>
                    <a:pt x="31" y="557"/>
                  </a:lnTo>
                  <a:lnTo>
                    <a:pt x="33" y="546"/>
                  </a:lnTo>
                  <a:lnTo>
                    <a:pt x="37" y="535"/>
                  </a:lnTo>
                  <a:lnTo>
                    <a:pt x="43" y="527"/>
                  </a:lnTo>
                  <a:lnTo>
                    <a:pt x="50" y="518"/>
                  </a:lnTo>
                  <a:lnTo>
                    <a:pt x="59" y="512"/>
                  </a:lnTo>
                  <a:lnTo>
                    <a:pt x="68" y="505"/>
                  </a:lnTo>
                  <a:lnTo>
                    <a:pt x="79" y="501"/>
                  </a:lnTo>
                  <a:lnTo>
                    <a:pt x="241" y="443"/>
                  </a:lnTo>
                  <a:lnTo>
                    <a:pt x="241" y="377"/>
                  </a:lnTo>
                  <a:lnTo>
                    <a:pt x="253" y="382"/>
                  </a:lnTo>
                  <a:lnTo>
                    <a:pt x="267" y="386"/>
                  </a:lnTo>
                  <a:lnTo>
                    <a:pt x="281" y="388"/>
                  </a:lnTo>
                  <a:lnTo>
                    <a:pt x="295" y="389"/>
                  </a:lnTo>
                  <a:lnTo>
                    <a:pt x="312" y="388"/>
                  </a:lnTo>
                  <a:lnTo>
                    <a:pt x="329" y="385"/>
                  </a:lnTo>
                  <a:lnTo>
                    <a:pt x="345" y="379"/>
                  </a:lnTo>
                  <a:lnTo>
                    <a:pt x="360" y="373"/>
                  </a:lnTo>
                  <a:lnTo>
                    <a:pt x="360" y="443"/>
                  </a:lnTo>
                  <a:lnTo>
                    <a:pt x="519" y="501"/>
                  </a:lnTo>
                  <a:lnTo>
                    <a:pt x="531" y="505"/>
                  </a:lnTo>
                  <a:lnTo>
                    <a:pt x="540" y="512"/>
                  </a:lnTo>
                  <a:lnTo>
                    <a:pt x="550" y="519"/>
                  </a:lnTo>
                  <a:lnTo>
                    <a:pt x="556" y="528"/>
                  </a:lnTo>
                  <a:lnTo>
                    <a:pt x="563" y="537"/>
                  </a:lnTo>
                  <a:lnTo>
                    <a:pt x="567" y="546"/>
                  </a:lnTo>
                  <a:lnTo>
                    <a:pt x="570" y="557"/>
                  </a:lnTo>
                  <a:lnTo>
                    <a:pt x="570" y="568"/>
                  </a:lnTo>
                  <a:lnTo>
                    <a:pt x="570" y="613"/>
                  </a:lnTo>
                  <a:close/>
                  <a:moveTo>
                    <a:pt x="160" y="194"/>
                  </a:moveTo>
                  <a:lnTo>
                    <a:pt x="161" y="191"/>
                  </a:lnTo>
                  <a:lnTo>
                    <a:pt x="161" y="188"/>
                  </a:lnTo>
                  <a:lnTo>
                    <a:pt x="172" y="190"/>
                  </a:lnTo>
                  <a:lnTo>
                    <a:pt x="183" y="192"/>
                  </a:lnTo>
                  <a:lnTo>
                    <a:pt x="194" y="194"/>
                  </a:lnTo>
                  <a:lnTo>
                    <a:pt x="205" y="194"/>
                  </a:lnTo>
                  <a:lnTo>
                    <a:pt x="221" y="193"/>
                  </a:lnTo>
                  <a:lnTo>
                    <a:pt x="236" y="191"/>
                  </a:lnTo>
                  <a:lnTo>
                    <a:pt x="252" y="187"/>
                  </a:lnTo>
                  <a:lnTo>
                    <a:pt x="267" y="181"/>
                  </a:lnTo>
                  <a:lnTo>
                    <a:pt x="281" y="175"/>
                  </a:lnTo>
                  <a:lnTo>
                    <a:pt x="295" y="166"/>
                  </a:lnTo>
                  <a:lnTo>
                    <a:pt x="307" y="158"/>
                  </a:lnTo>
                  <a:lnTo>
                    <a:pt x="318" y="148"/>
                  </a:lnTo>
                  <a:lnTo>
                    <a:pt x="326" y="160"/>
                  </a:lnTo>
                  <a:lnTo>
                    <a:pt x="336" y="169"/>
                  </a:lnTo>
                  <a:lnTo>
                    <a:pt x="347" y="178"/>
                  </a:lnTo>
                  <a:lnTo>
                    <a:pt x="356" y="184"/>
                  </a:lnTo>
                  <a:lnTo>
                    <a:pt x="368" y="190"/>
                  </a:lnTo>
                  <a:lnTo>
                    <a:pt x="380" y="194"/>
                  </a:lnTo>
                  <a:lnTo>
                    <a:pt x="392" y="196"/>
                  </a:lnTo>
                  <a:lnTo>
                    <a:pt x="405" y="197"/>
                  </a:lnTo>
                  <a:lnTo>
                    <a:pt x="417" y="196"/>
                  </a:lnTo>
                  <a:lnTo>
                    <a:pt x="430" y="194"/>
                  </a:lnTo>
                  <a:lnTo>
                    <a:pt x="429" y="211"/>
                  </a:lnTo>
                  <a:lnTo>
                    <a:pt x="427" y="227"/>
                  </a:lnTo>
                  <a:lnTo>
                    <a:pt x="424" y="243"/>
                  </a:lnTo>
                  <a:lnTo>
                    <a:pt x="419" y="258"/>
                  </a:lnTo>
                  <a:lnTo>
                    <a:pt x="414" y="272"/>
                  </a:lnTo>
                  <a:lnTo>
                    <a:pt x="406" y="286"/>
                  </a:lnTo>
                  <a:lnTo>
                    <a:pt x="399" y="299"/>
                  </a:lnTo>
                  <a:lnTo>
                    <a:pt x="390" y="311"/>
                  </a:lnTo>
                  <a:lnTo>
                    <a:pt x="381" y="321"/>
                  </a:lnTo>
                  <a:lnTo>
                    <a:pt x="370" y="331"/>
                  </a:lnTo>
                  <a:lnTo>
                    <a:pt x="359" y="339"/>
                  </a:lnTo>
                  <a:lnTo>
                    <a:pt x="348" y="346"/>
                  </a:lnTo>
                  <a:lnTo>
                    <a:pt x="335" y="351"/>
                  </a:lnTo>
                  <a:lnTo>
                    <a:pt x="322" y="356"/>
                  </a:lnTo>
                  <a:lnTo>
                    <a:pt x="309" y="358"/>
                  </a:lnTo>
                  <a:lnTo>
                    <a:pt x="295" y="359"/>
                  </a:lnTo>
                  <a:lnTo>
                    <a:pt x="281" y="358"/>
                  </a:lnTo>
                  <a:lnTo>
                    <a:pt x="268" y="356"/>
                  </a:lnTo>
                  <a:lnTo>
                    <a:pt x="256" y="351"/>
                  </a:lnTo>
                  <a:lnTo>
                    <a:pt x="243" y="346"/>
                  </a:lnTo>
                  <a:lnTo>
                    <a:pt x="231" y="339"/>
                  </a:lnTo>
                  <a:lnTo>
                    <a:pt x="220" y="330"/>
                  </a:lnTo>
                  <a:lnTo>
                    <a:pt x="210" y="321"/>
                  </a:lnTo>
                  <a:lnTo>
                    <a:pt x="200" y="311"/>
                  </a:lnTo>
                  <a:lnTo>
                    <a:pt x="191" y="299"/>
                  </a:lnTo>
                  <a:lnTo>
                    <a:pt x="184" y="286"/>
                  </a:lnTo>
                  <a:lnTo>
                    <a:pt x="178" y="272"/>
                  </a:lnTo>
                  <a:lnTo>
                    <a:pt x="171" y="258"/>
                  </a:lnTo>
                  <a:lnTo>
                    <a:pt x="167" y="243"/>
                  </a:lnTo>
                  <a:lnTo>
                    <a:pt x="164" y="227"/>
                  </a:lnTo>
                  <a:lnTo>
                    <a:pt x="161" y="211"/>
                  </a:lnTo>
                  <a:lnTo>
                    <a:pt x="160" y="194"/>
                  </a:lnTo>
                  <a:close/>
                  <a:moveTo>
                    <a:pt x="295" y="30"/>
                  </a:moveTo>
                  <a:lnTo>
                    <a:pt x="308" y="30"/>
                  </a:lnTo>
                  <a:lnTo>
                    <a:pt x="320" y="33"/>
                  </a:lnTo>
                  <a:lnTo>
                    <a:pt x="331" y="36"/>
                  </a:lnTo>
                  <a:lnTo>
                    <a:pt x="342" y="40"/>
                  </a:lnTo>
                  <a:lnTo>
                    <a:pt x="353" y="45"/>
                  </a:lnTo>
                  <a:lnTo>
                    <a:pt x="363" y="53"/>
                  </a:lnTo>
                  <a:lnTo>
                    <a:pt x="372" y="60"/>
                  </a:lnTo>
                  <a:lnTo>
                    <a:pt x="382" y="69"/>
                  </a:lnTo>
                  <a:lnTo>
                    <a:pt x="390" y="79"/>
                  </a:lnTo>
                  <a:lnTo>
                    <a:pt x="398" y="88"/>
                  </a:lnTo>
                  <a:lnTo>
                    <a:pt x="405" y="100"/>
                  </a:lnTo>
                  <a:lnTo>
                    <a:pt x="411" y="112"/>
                  </a:lnTo>
                  <a:lnTo>
                    <a:pt x="417" y="123"/>
                  </a:lnTo>
                  <a:lnTo>
                    <a:pt x="421" y="136"/>
                  </a:lnTo>
                  <a:lnTo>
                    <a:pt x="425" y="150"/>
                  </a:lnTo>
                  <a:lnTo>
                    <a:pt x="428" y="164"/>
                  </a:lnTo>
                  <a:lnTo>
                    <a:pt x="427" y="164"/>
                  </a:lnTo>
                  <a:lnTo>
                    <a:pt x="427" y="164"/>
                  </a:lnTo>
                  <a:lnTo>
                    <a:pt x="412" y="166"/>
                  </a:lnTo>
                  <a:lnTo>
                    <a:pt x="397" y="166"/>
                  </a:lnTo>
                  <a:lnTo>
                    <a:pt x="390" y="165"/>
                  </a:lnTo>
                  <a:lnTo>
                    <a:pt x="384" y="164"/>
                  </a:lnTo>
                  <a:lnTo>
                    <a:pt x="379" y="162"/>
                  </a:lnTo>
                  <a:lnTo>
                    <a:pt x="372" y="159"/>
                  </a:lnTo>
                  <a:lnTo>
                    <a:pt x="367" y="156"/>
                  </a:lnTo>
                  <a:lnTo>
                    <a:pt x="362" y="152"/>
                  </a:lnTo>
                  <a:lnTo>
                    <a:pt x="356" y="147"/>
                  </a:lnTo>
                  <a:lnTo>
                    <a:pt x="351" y="142"/>
                  </a:lnTo>
                  <a:lnTo>
                    <a:pt x="341" y="130"/>
                  </a:lnTo>
                  <a:lnTo>
                    <a:pt x="332" y="114"/>
                  </a:lnTo>
                  <a:lnTo>
                    <a:pt x="318" y="90"/>
                  </a:lnTo>
                  <a:lnTo>
                    <a:pt x="305" y="115"/>
                  </a:lnTo>
                  <a:lnTo>
                    <a:pt x="302" y="119"/>
                  </a:lnTo>
                  <a:lnTo>
                    <a:pt x="298" y="125"/>
                  </a:lnTo>
                  <a:lnTo>
                    <a:pt x="294" y="129"/>
                  </a:lnTo>
                  <a:lnTo>
                    <a:pt x="289" y="133"/>
                  </a:lnTo>
                  <a:lnTo>
                    <a:pt x="278" y="142"/>
                  </a:lnTo>
                  <a:lnTo>
                    <a:pt x="265" y="149"/>
                  </a:lnTo>
                  <a:lnTo>
                    <a:pt x="250" y="156"/>
                  </a:lnTo>
                  <a:lnTo>
                    <a:pt x="235" y="160"/>
                  </a:lnTo>
                  <a:lnTo>
                    <a:pt x="220" y="163"/>
                  </a:lnTo>
                  <a:lnTo>
                    <a:pt x="205" y="164"/>
                  </a:lnTo>
                  <a:lnTo>
                    <a:pt x="195" y="164"/>
                  </a:lnTo>
                  <a:lnTo>
                    <a:pt x="184" y="162"/>
                  </a:lnTo>
                  <a:lnTo>
                    <a:pt x="174" y="160"/>
                  </a:lnTo>
                  <a:lnTo>
                    <a:pt x="165" y="157"/>
                  </a:lnTo>
                  <a:lnTo>
                    <a:pt x="168" y="143"/>
                  </a:lnTo>
                  <a:lnTo>
                    <a:pt x="172" y="130"/>
                  </a:lnTo>
                  <a:lnTo>
                    <a:pt x="176" y="118"/>
                  </a:lnTo>
                  <a:lnTo>
                    <a:pt x="182" y="106"/>
                  </a:lnTo>
                  <a:lnTo>
                    <a:pt x="188" y="95"/>
                  </a:lnTo>
                  <a:lnTo>
                    <a:pt x="196" y="85"/>
                  </a:lnTo>
                  <a:lnTo>
                    <a:pt x="203" y="75"/>
                  </a:lnTo>
                  <a:lnTo>
                    <a:pt x="212" y="66"/>
                  </a:lnTo>
                  <a:lnTo>
                    <a:pt x="220" y="58"/>
                  </a:lnTo>
                  <a:lnTo>
                    <a:pt x="230" y="51"/>
                  </a:lnTo>
                  <a:lnTo>
                    <a:pt x="240" y="44"/>
                  </a:lnTo>
                  <a:lnTo>
                    <a:pt x="250" y="40"/>
                  </a:lnTo>
                  <a:lnTo>
                    <a:pt x="261" y="36"/>
                  </a:lnTo>
                  <a:lnTo>
                    <a:pt x="272" y="33"/>
                  </a:lnTo>
                  <a:lnTo>
                    <a:pt x="283" y="30"/>
                  </a:lnTo>
                  <a:lnTo>
                    <a:pt x="295" y="30"/>
                  </a:lnTo>
                  <a:lnTo>
                    <a:pt x="295" y="30"/>
                  </a:lnTo>
                  <a:close/>
                  <a:moveTo>
                    <a:pt x="530" y="472"/>
                  </a:moveTo>
                  <a:lnTo>
                    <a:pt x="390" y="422"/>
                  </a:lnTo>
                  <a:lnTo>
                    <a:pt x="390" y="352"/>
                  </a:lnTo>
                  <a:lnTo>
                    <a:pt x="398" y="346"/>
                  </a:lnTo>
                  <a:lnTo>
                    <a:pt x="405" y="339"/>
                  </a:lnTo>
                  <a:lnTo>
                    <a:pt x="413" y="330"/>
                  </a:lnTo>
                  <a:lnTo>
                    <a:pt x="419" y="323"/>
                  </a:lnTo>
                  <a:lnTo>
                    <a:pt x="425" y="313"/>
                  </a:lnTo>
                  <a:lnTo>
                    <a:pt x="431" y="304"/>
                  </a:lnTo>
                  <a:lnTo>
                    <a:pt x="436" y="295"/>
                  </a:lnTo>
                  <a:lnTo>
                    <a:pt x="441" y="285"/>
                  </a:lnTo>
                  <a:lnTo>
                    <a:pt x="445" y="274"/>
                  </a:lnTo>
                  <a:lnTo>
                    <a:pt x="449" y="264"/>
                  </a:lnTo>
                  <a:lnTo>
                    <a:pt x="452" y="253"/>
                  </a:lnTo>
                  <a:lnTo>
                    <a:pt x="455" y="241"/>
                  </a:lnTo>
                  <a:lnTo>
                    <a:pt x="457" y="230"/>
                  </a:lnTo>
                  <a:lnTo>
                    <a:pt x="459" y="219"/>
                  </a:lnTo>
                  <a:lnTo>
                    <a:pt x="460" y="206"/>
                  </a:lnTo>
                  <a:lnTo>
                    <a:pt x="460" y="194"/>
                  </a:lnTo>
                  <a:lnTo>
                    <a:pt x="459" y="175"/>
                  </a:lnTo>
                  <a:lnTo>
                    <a:pt x="457" y="156"/>
                  </a:lnTo>
                  <a:lnTo>
                    <a:pt x="452" y="136"/>
                  </a:lnTo>
                  <a:lnTo>
                    <a:pt x="447" y="118"/>
                  </a:lnTo>
                  <a:lnTo>
                    <a:pt x="440" y="102"/>
                  </a:lnTo>
                  <a:lnTo>
                    <a:pt x="432" y="86"/>
                  </a:lnTo>
                  <a:lnTo>
                    <a:pt x="423" y="71"/>
                  </a:lnTo>
                  <a:lnTo>
                    <a:pt x="412" y="57"/>
                  </a:lnTo>
                  <a:lnTo>
                    <a:pt x="400" y="44"/>
                  </a:lnTo>
                  <a:lnTo>
                    <a:pt x="387" y="34"/>
                  </a:lnTo>
                  <a:lnTo>
                    <a:pt x="373" y="23"/>
                  </a:lnTo>
                  <a:lnTo>
                    <a:pt x="359" y="15"/>
                  </a:lnTo>
                  <a:lnTo>
                    <a:pt x="344" y="9"/>
                  </a:lnTo>
                  <a:lnTo>
                    <a:pt x="328" y="4"/>
                  </a:lnTo>
                  <a:lnTo>
                    <a:pt x="312" y="0"/>
                  </a:lnTo>
                  <a:lnTo>
                    <a:pt x="295" y="0"/>
                  </a:lnTo>
                  <a:lnTo>
                    <a:pt x="278" y="0"/>
                  </a:lnTo>
                  <a:lnTo>
                    <a:pt x="262" y="4"/>
                  </a:lnTo>
                  <a:lnTo>
                    <a:pt x="246" y="9"/>
                  </a:lnTo>
                  <a:lnTo>
                    <a:pt x="231" y="15"/>
                  </a:lnTo>
                  <a:lnTo>
                    <a:pt x="217" y="23"/>
                  </a:lnTo>
                  <a:lnTo>
                    <a:pt x="203" y="34"/>
                  </a:lnTo>
                  <a:lnTo>
                    <a:pt x="190" y="44"/>
                  </a:lnTo>
                  <a:lnTo>
                    <a:pt x="179" y="57"/>
                  </a:lnTo>
                  <a:lnTo>
                    <a:pt x="169" y="71"/>
                  </a:lnTo>
                  <a:lnTo>
                    <a:pt x="159" y="86"/>
                  </a:lnTo>
                  <a:lnTo>
                    <a:pt x="151" y="102"/>
                  </a:lnTo>
                  <a:lnTo>
                    <a:pt x="144" y="118"/>
                  </a:lnTo>
                  <a:lnTo>
                    <a:pt x="138" y="136"/>
                  </a:lnTo>
                  <a:lnTo>
                    <a:pt x="135" y="156"/>
                  </a:lnTo>
                  <a:lnTo>
                    <a:pt x="131" y="175"/>
                  </a:lnTo>
                  <a:lnTo>
                    <a:pt x="130" y="194"/>
                  </a:lnTo>
                  <a:lnTo>
                    <a:pt x="131" y="207"/>
                  </a:lnTo>
                  <a:lnTo>
                    <a:pt x="133" y="220"/>
                  </a:lnTo>
                  <a:lnTo>
                    <a:pt x="134" y="233"/>
                  </a:lnTo>
                  <a:lnTo>
                    <a:pt x="137" y="245"/>
                  </a:lnTo>
                  <a:lnTo>
                    <a:pt x="140" y="257"/>
                  </a:lnTo>
                  <a:lnTo>
                    <a:pt x="143" y="269"/>
                  </a:lnTo>
                  <a:lnTo>
                    <a:pt x="148" y="280"/>
                  </a:lnTo>
                  <a:lnTo>
                    <a:pt x="153" y="290"/>
                  </a:lnTo>
                  <a:lnTo>
                    <a:pt x="158" y="301"/>
                  </a:lnTo>
                  <a:lnTo>
                    <a:pt x="165" y="312"/>
                  </a:lnTo>
                  <a:lnTo>
                    <a:pt x="171" y="320"/>
                  </a:lnTo>
                  <a:lnTo>
                    <a:pt x="178" y="330"/>
                  </a:lnTo>
                  <a:lnTo>
                    <a:pt x="185" y="339"/>
                  </a:lnTo>
                  <a:lnTo>
                    <a:pt x="194" y="346"/>
                  </a:lnTo>
                  <a:lnTo>
                    <a:pt x="201" y="354"/>
                  </a:lnTo>
                  <a:lnTo>
                    <a:pt x="211" y="360"/>
                  </a:lnTo>
                  <a:lnTo>
                    <a:pt x="211" y="422"/>
                  </a:lnTo>
                  <a:lnTo>
                    <a:pt x="69" y="472"/>
                  </a:lnTo>
                  <a:lnTo>
                    <a:pt x="61" y="476"/>
                  </a:lnTo>
                  <a:lnTo>
                    <a:pt x="53" y="480"/>
                  </a:lnTo>
                  <a:lnTo>
                    <a:pt x="47" y="483"/>
                  </a:lnTo>
                  <a:lnTo>
                    <a:pt x="41" y="488"/>
                  </a:lnTo>
                  <a:lnTo>
                    <a:pt x="34" y="493"/>
                  </a:lnTo>
                  <a:lnTo>
                    <a:pt x="29" y="498"/>
                  </a:lnTo>
                  <a:lnTo>
                    <a:pt x="23" y="503"/>
                  </a:lnTo>
                  <a:lnTo>
                    <a:pt x="18" y="510"/>
                  </a:lnTo>
                  <a:lnTo>
                    <a:pt x="15" y="516"/>
                  </a:lnTo>
                  <a:lnTo>
                    <a:pt x="11" y="523"/>
                  </a:lnTo>
                  <a:lnTo>
                    <a:pt x="7" y="529"/>
                  </a:lnTo>
                  <a:lnTo>
                    <a:pt x="5" y="537"/>
                  </a:lnTo>
                  <a:lnTo>
                    <a:pt x="3" y="544"/>
                  </a:lnTo>
                  <a:lnTo>
                    <a:pt x="1" y="552"/>
                  </a:lnTo>
                  <a:lnTo>
                    <a:pt x="0" y="560"/>
                  </a:lnTo>
                  <a:lnTo>
                    <a:pt x="0" y="568"/>
                  </a:lnTo>
                  <a:lnTo>
                    <a:pt x="0" y="642"/>
                  </a:lnTo>
                  <a:lnTo>
                    <a:pt x="601" y="642"/>
                  </a:lnTo>
                  <a:lnTo>
                    <a:pt x="601" y="568"/>
                  </a:lnTo>
                  <a:lnTo>
                    <a:pt x="600" y="560"/>
                  </a:lnTo>
                  <a:lnTo>
                    <a:pt x="599" y="553"/>
                  </a:lnTo>
                  <a:lnTo>
                    <a:pt x="598" y="545"/>
                  </a:lnTo>
                  <a:lnTo>
                    <a:pt x="596" y="538"/>
                  </a:lnTo>
                  <a:lnTo>
                    <a:pt x="593" y="530"/>
                  </a:lnTo>
                  <a:lnTo>
                    <a:pt x="589" y="524"/>
                  </a:lnTo>
                  <a:lnTo>
                    <a:pt x="585" y="516"/>
                  </a:lnTo>
                  <a:lnTo>
                    <a:pt x="581" y="510"/>
                  </a:lnTo>
                  <a:lnTo>
                    <a:pt x="577" y="504"/>
                  </a:lnTo>
                  <a:lnTo>
                    <a:pt x="571" y="498"/>
                  </a:lnTo>
                  <a:lnTo>
                    <a:pt x="565" y="493"/>
                  </a:lnTo>
                  <a:lnTo>
                    <a:pt x="558" y="488"/>
                  </a:lnTo>
                  <a:lnTo>
                    <a:pt x="552" y="484"/>
                  </a:lnTo>
                  <a:lnTo>
                    <a:pt x="545" y="480"/>
                  </a:lnTo>
                  <a:lnTo>
                    <a:pt x="537" y="476"/>
                  </a:lnTo>
                  <a:lnTo>
                    <a:pt x="530" y="4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70">
              <a:extLst>
                <a:ext uri="{FF2B5EF4-FFF2-40B4-BE49-F238E27FC236}">
                  <a16:creationId xmlns:a16="http://schemas.microsoft.com/office/drawing/2014/main" id="{058335F5-B9B6-9B01-1A85-46805409486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663" y="785813"/>
              <a:ext cx="190500" cy="169863"/>
            </a:xfrm>
            <a:custGeom>
              <a:avLst/>
              <a:gdLst>
                <a:gd name="T0" fmla="*/ 0 w 600"/>
                <a:gd name="T1" fmla="*/ 0 h 535"/>
                <a:gd name="T2" fmla="*/ 0 w 600"/>
                <a:gd name="T3" fmla="*/ 166 h 535"/>
                <a:gd name="T4" fmla="*/ 30 w 600"/>
                <a:gd name="T5" fmla="*/ 166 h 535"/>
                <a:gd name="T6" fmla="*/ 30 w 600"/>
                <a:gd name="T7" fmla="*/ 30 h 535"/>
                <a:gd name="T8" fmla="*/ 570 w 600"/>
                <a:gd name="T9" fmla="*/ 30 h 535"/>
                <a:gd name="T10" fmla="*/ 570 w 600"/>
                <a:gd name="T11" fmla="*/ 331 h 535"/>
                <a:gd name="T12" fmla="*/ 444 w 600"/>
                <a:gd name="T13" fmla="*/ 331 h 535"/>
                <a:gd name="T14" fmla="*/ 330 w 600"/>
                <a:gd name="T15" fmla="*/ 457 h 535"/>
                <a:gd name="T16" fmla="*/ 330 w 600"/>
                <a:gd name="T17" fmla="*/ 331 h 535"/>
                <a:gd name="T18" fmla="*/ 239 w 600"/>
                <a:gd name="T19" fmla="*/ 331 h 535"/>
                <a:gd name="T20" fmla="*/ 239 w 600"/>
                <a:gd name="T21" fmla="*/ 361 h 535"/>
                <a:gd name="T22" fmla="*/ 300 w 600"/>
                <a:gd name="T23" fmla="*/ 361 h 535"/>
                <a:gd name="T24" fmla="*/ 300 w 600"/>
                <a:gd name="T25" fmla="*/ 535 h 535"/>
                <a:gd name="T26" fmla="*/ 456 w 600"/>
                <a:gd name="T27" fmla="*/ 361 h 535"/>
                <a:gd name="T28" fmla="*/ 600 w 600"/>
                <a:gd name="T29" fmla="*/ 361 h 535"/>
                <a:gd name="T30" fmla="*/ 600 w 600"/>
                <a:gd name="T31" fmla="*/ 0 h 535"/>
                <a:gd name="T32" fmla="*/ 0 w 600"/>
                <a:gd name="T33" fmla="*/ 0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0" h="535">
                  <a:moveTo>
                    <a:pt x="0" y="0"/>
                  </a:moveTo>
                  <a:lnTo>
                    <a:pt x="0" y="166"/>
                  </a:lnTo>
                  <a:lnTo>
                    <a:pt x="30" y="166"/>
                  </a:lnTo>
                  <a:lnTo>
                    <a:pt x="30" y="30"/>
                  </a:lnTo>
                  <a:lnTo>
                    <a:pt x="570" y="30"/>
                  </a:lnTo>
                  <a:lnTo>
                    <a:pt x="570" y="331"/>
                  </a:lnTo>
                  <a:lnTo>
                    <a:pt x="444" y="331"/>
                  </a:lnTo>
                  <a:lnTo>
                    <a:pt x="330" y="457"/>
                  </a:lnTo>
                  <a:lnTo>
                    <a:pt x="330" y="331"/>
                  </a:lnTo>
                  <a:lnTo>
                    <a:pt x="239" y="331"/>
                  </a:lnTo>
                  <a:lnTo>
                    <a:pt x="239" y="361"/>
                  </a:lnTo>
                  <a:lnTo>
                    <a:pt x="300" y="361"/>
                  </a:lnTo>
                  <a:lnTo>
                    <a:pt x="300" y="535"/>
                  </a:lnTo>
                  <a:lnTo>
                    <a:pt x="456" y="361"/>
                  </a:lnTo>
                  <a:lnTo>
                    <a:pt x="600" y="361"/>
                  </a:lnTo>
                  <a:lnTo>
                    <a:pt x="60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171">
              <a:extLst>
                <a:ext uri="{FF2B5EF4-FFF2-40B4-BE49-F238E27FC236}">
                  <a16:creationId xmlns:a16="http://schemas.microsoft.com/office/drawing/2014/main" id="{3EBCB686-3ECD-E33A-6E47-D8B8B52187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7750" y="842963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Rectangle 172">
              <a:extLst>
                <a:ext uri="{FF2B5EF4-FFF2-40B4-BE49-F238E27FC236}">
                  <a16:creationId xmlns:a16="http://schemas.microsoft.com/office/drawing/2014/main" id="{29A949E0-ED07-22FD-21A4-DE44B8949D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7913" y="842963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173">
              <a:extLst>
                <a:ext uri="{FF2B5EF4-FFF2-40B4-BE49-F238E27FC236}">
                  <a16:creationId xmlns:a16="http://schemas.microsoft.com/office/drawing/2014/main" id="{3F6CFB9B-F737-312B-FCD5-002020D76B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6488" y="842963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36896143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821DCB7-FB7F-47C1-AB0F-76E58E026184}"/>
              </a:ext>
            </a:extLst>
          </p:cNvPr>
          <p:cNvSpPr/>
          <p:nvPr/>
        </p:nvSpPr>
        <p:spPr>
          <a:xfrm>
            <a:off x="2" y="-12061"/>
            <a:ext cx="5484829" cy="6858000"/>
          </a:xfrm>
          <a:custGeom>
            <a:avLst/>
            <a:gdLst>
              <a:gd name="connsiteX0" fmla="*/ 0 w 5484829"/>
              <a:gd name="connsiteY0" fmla="*/ 0 h 6858000"/>
              <a:gd name="connsiteX1" fmla="*/ 3428771 w 5484829"/>
              <a:gd name="connsiteY1" fmla="*/ 0 h 6858000"/>
              <a:gd name="connsiteX2" fmla="*/ 3450639 w 5484829"/>
              <a:gd name="connsiteY2" fmla="*/ 11201 h 6858000"/>
              <a:gd name="connsiteX3" fmla="*/ 5484829 w 5484829"/>
              <a:gd name="connsiteY3" fmla="*/ 3429000 h 6858000"/>
              <a:gd name="connsiteX4" fmla="*/ 3450639 w 5484829"/>
              <a:gd name="connsiteY4" fmla="*/ 6846800 h 6858000"/>
              <a:gd name="connsiteX5" fmla="*/ 3428771 w 5484829"/>
              <a:gd name="connsiteY5" fmla="*/ 6858000 h 6858000"/>
              <a:gd name="connsiteX6" fmla="*/ 0 w 5484829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84829" h="6858000">
                <a:moveTo>
                  <a:pt x="0" y="0"/>
                </a:moveTo>
                <a:lnTo>
                  <a:pt x="3428771" y="0"/>
                </a:lnTo>
                <a:lnTo>
                  <a:pt x="3450639" y="11201"/>
                </a:lnTo>
                <a:cubicBezTo>
                  <a:pt x="4662294" y="669411"/>
                  <a:pt x="5484829" y="1953149"/>
                  <a:pt x="5484829" y="3429000"/>
                </a:cubicBezTo>
                <a:cubicBezTo>
                  <a:pt x="5484829" y="4904852"/>
                  <a:pt x="4662294" y="6188590"/>
                  <a:pt x="3450639" y="6846800"/>
                </a:cubicBezTo>
                <a:lnTo>
                  <a:pt x="3428771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99000">
                <a:srgbClr val="21AD84">
                  <a:alpha val="70000"/>
                </a:srgbClr>
              </a:gs>
              <a:gs pos="46000">
                <a:srgbClr val="4C53B8">
                  <a:alpha val="70000"/>
                </a:srgbClr>
              </a:gs>
              <a:gs pos="0">
                <a:srgbClr val="DD02F8">
                  <a:alpha val="70000"/>
                </a:srgbClr>
              </a:gs>
            </a:gsLst>
            <a:lin ang="18900000" scaled="1"/>
            <a:tileRect/>
          </a:gradFill>
          <a:ln w="285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09CED78-3DA5-4EDA-827E-498871CCF1B3}"/>
              </a:ext>
            </a:extLst>
          </p:cNvPr>
          <p:cNvSpPr/>
          <p:nvPr/>
        </p:nvSpPr>
        <p:spPr>
          <a:xfrm>
            <a:off x="1519084" y="1106130"/>
            <a:ext cx="9153834" cy="464574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0" dist="571500" dir="5400000" sx="91000" sy="91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59D6E9AE-B5E2-47FA-B2E5-21E5185F8884}"/>
              </a:ext>
            </a:extLst>
          </p:cNvPr>
          <p:cNvSpPr/>
          <p:nvPr/>
        </p:nvSpPr>
        <p:spPr>
          <a:xfrm>
            <a:off x="1519086" y="1106130"/>
            <a:ext cx="3965745" cy="4645742"/>
          </a:xfrm>
          <a:custGeom>
            <a:avLst/>
            <a:gdLst>
              <a:gd name="connsiteX0" fmla="*/ 0 w 3965745"/>
              <a:gd name="connsiteY0" fmla="*/ 0 h 4645742"/>
              <a:gd name="connsiteX1" fmla="*/ 3192988 w 3965745"/>
              <a:gd name="connsiteY1" fmla="*/ 0 h 4645742"/>
              <a:gd name="connsiteX2" fmla="*/ 3262118 w 3965745"/>
              <a:gd name="connsiteY2" fmla="*/ 91867 h 4645742"/>
              <a:gd name="connsiteX3" fmla="*/ 3965745 w 3965745"/>
              <a:gd name="connsiteY3" fmla="*/ 2322870 h 4645742"/>
              <a:gd name="connsiteX4" fmla="*/ 3262118 w 3965745"/>
              <a:gd name="connsiteY4" fmla="*/ 4553874 h 4645742"/>
              <a:gd name="connsiteX5" fmla="*/ 3192987 w 3965745"/>
              <a:gd name="connsiteY5" fmla="*/ 4645742 h 4645742"/>
              <a:gd name="connsiteX6" fmla="*/ 0 w 3965745"/>
              <a:gd name="connsiteY6" fmla="*/ 4645742 h 4645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65745" h="4645742">
                <a:moveTo>
                  <a:pt x="0" y="0"/>
                </a:moveTo>
                <a:lnTo>
                  <a:pt x="3192988" y="0"/>
                </a:lnTo>
                <a:lnTo>
                  <a:pt x="3262118" y="91867"/>
                </a:lnTo>
                <a:cubicBezTo>
                  <a:pt x="3705490" y="723323"/>
                  <a:pt x="3965745" y="1492704"/>
                  <a:pt x="3965745" y="2322870"/>
                </a:cubicBezTo>
                <a:cubicBezTo>
                  <a:pt x="3965745" y="3153037"/>
                  <a:pt x="3705490" y="3922418"/>
                  <a:pt x="3262118" y="4553874"/>
                </a:cubicBezTo>
                <a:lnTo>
                  <a:pt x="3192987" y="4645742"/>
                </a:lnTo>
                <a:lnTo>
                  <a:pt x="0" y="4645742"/>
                </a:lnTo>
                <a:close/>
              </a:path>
            </a:pathLst>
          </a:custGeom>
          <a:solidFill>
            <a:srgbClr val="21AD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43A4820-6C60-4FDB-9122-E747D4BAD923}"/>
              </a:ext>
            </a:extLst>
          </p:cNvPr>
          <p:cNvSpPr txBox="1"/>
          <p:nvPr/>
        </p:nvSpPr>
        <p:spPr>
          <a:xfrm>
            <a:off x="2572732" y="2685303"/>
            <a:ext cx="310822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bg1"/>
                </a:solidFill>
                <a:cs typeface="Poppins SemiBold" panose="00000700000000000000" pitchFamily="2" charset="0"/>
              </a:rPr>
              <a:t>QUESTIONS </a:t>
            </a:r>
          </a:p>
          <a:p>
            <a:r>
              <a:rPr lang="en-US" sz="3200" b="1" dirty="0">
                <a:solidFill>
                  <a:schemeClr val="bg1"/>
                </a:solidFill>
                <a:cs typeface="Poppins SemiBold" panose="00000700000000000000" pitchFamily="2" charset="0"/>
              </a:rPr>
              <a:t>&amp; ANSWERS</a:t>
            </a:r>
          </a:p>
        </p:txBody>
      </p:sp>
      <p:grpSp>
        <p:nvGrpSpPr>
          <p:cNvPr id="366" name="Graphic 2">
            <a:extLst>
              <a:ext uri="{FF2B5EF4-FFF2-40B4-BE49-F238E27FC236}">
                <a16:creationId xmlns:a16="http://schemas.microsoft.com/office/drawing/2014/main" id="{5DB2DCA4-595E-4ED1-9A3C-2C6267EE9011}"/>
              </a:ext>
            </a:extLst>
          </p:cNvPr>
          <p:cNvGrpSpPr/>
          <p:nvPr/>
        </p:nvGrpSpPr>
        <p:grpSpPr>
          <a:xfrm>
            <a:off x="1554562" y="3173555"/>
            <a:ext cx="1746674" cy="3671103"/>
            <a:chOff x="2169501" y="2095160"/>
            <a:chExt cx="1271877" cy="2673189"/>
          </a:xfrm>
        </p:grpSpPr>
        <p:grpSp>
          <p:nvGrpSpPr>
            <p:cNvPr id="367" name="Graphic 2">
              <a:extLst>
                <a:ext uri="{FF2B5EF4-FFF2-40B4-BE49-F238E27FC236}">
                  <a16:creationId xmlns:a16="http://schemas.microsoft.com/office/drawing/2014/main" id="{9D0CF84C-1037-4889-A12B-17B8D40DCCDE}"/>
                </a:ext>
              </a:extLst>
            </p:cNvPr>
            <p:cNvGrpSpPr/>
            <p:nvPr/>
          </p:nvGrpSpPr>
          <p:grpSpPr>
            <a:xfrm>
              <a:off x="2180589" y="2095160"/>
              <a:ext cx="1260789" cy="2673189"/>
              <a:chOff x="2180589" y="2095160"/>
              <a:chExt cx="1260789" cy="2673189"/>
            </a:xfrm>
          </p:grpSpPr>
          <p:sp>
            <p:nvSpPr>
              <p:cNvPr id="369" name="Graphic 2">
                <a:extLst>
                  <a:ext uri="{FF2B5EF4-FFF2-40B4-BE49-F238E27FC236}">
                    <a16:creationId xmlns:a16="http://schemas.microsoft.com/office/drawing/2014/main" id="{1660E2E5-F8EA-4C81-9963-0DFF27F2E1B5}"/>
                  </a:ext>
                </a:extLst>
              </p:cNvPr>
              <p:cNvSpPr/>
              <p:nvPr/>
            </p:nvSpPr>
            <p:spPr>
              <a:xfrm>
                <a:off x="2616244" y="2216601"/>
                <a:ext cx="103878" cy="159861"/>
              </a:xfrm>
              <a:custGeom>
                <a:avLst/>
                <a:gdLst>
                  <a:gd name="connsiteX0" fmla="*/ 98162 w 103878"/>
                  <a:gd name="connsiteY0" fmla="*/ 55352 h 159861"/>
                  <a:gd name="connsiteX1" fmla="*/ 25321 w 103878"/>
                  <a:gd name="connsiteY1" fmla="*/ 255 h 159861"/>
                  <a:gd name="connsiteX2" fmla="*/ 11314 w 103878"/>
                  <a:gd name="connsiteY2" fmla="*/ 15663 h 159861"/>
                  <a:gd name="connsiteX3" fmla="*/ 22987 w 103878"/>
                  <a:gd name="connsiteY3" fmla="*/ 62823 h 159861"/>
                  <a:gd name="connsiteX4" fmla="*/ 107 w 103878"/>
                  <a:gd name="connsiteY4" fmla="*/ 117920 h 159861"/>
                  <a:gd name="connsiteX5" fmla="*/ 86956 w 103878"/>
                  <a:gd name="connsiteY5" fmla="*/ 141267 h 159861"/>
                  <a:gd name="connsiteX6" fmla="*/ 98162 w 103878"/>
                  <a:gd name="connsiteY6" fmla="*/ 55352 h 159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3878" h="159861">
                    <a:moveTo>
                      <a:pt x="98162" y="55352"/>
                    </a:moveTo>
                    <a:cubicBezTo>
                      <a:pt x="89290" y="34807"/>
                      <a:pt x="57072" y="-3481"/>
                      <a:pt x="25321" y="255"/>
                    </a:cubicBezTo>
                    <a:cubicBezTo>
                      <a:pt x="16917" y="1188"/>
                      <a:pt x="8045" y="7258"/>
                      <a:pt x="11314" y="15663"/>
                    </a:cubicBezTo>
                    <a:cubicBezTo>
                      <a:pt x="16917" y="29204"/>
                      <a:pt x="27189" y="48815"/>
                      <a:pt x="22987" y="62823"/>
                    </a:cubicBezTo>
                    <a:cubicBezTo>
                      <a:pt x="17384" y="81967"/>
                      <a:pt x="1508" y="97842"/>
                      <a:pt x="107" y="117920"/>
                    </a:cubicBezTo>
                    <a:cubicBezTo>
                      <a:pt x="-3161" y="158076"/>
                      <a:pt x="69213" y="176286"/>
                      <a:pt x="86956" y="141267"/>
                    </a:cubicBezTo>
                    <a:cubicBezTo>
                      <a:pt x="100497" y="116053"/>
                      <a:pt x="110769" y="84301"/>
                      <a:pt x="98162" y="55352"/>
                    </a:cubicBezTo>
                    <a:close/>
                  </a:path>
                </a:pathLst>
              </a:custGeom>
              <a:solidFill>
                <a:srgbClr val="61351C"/>
              </a:solidFill>
              <a:ln w="46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370" name="Graphic 2">
                <a:extLst>
                  <a:ext uri="{FF2B5EF4-FFF2-40B4-BE49-F238E27FC236}">
                    <a16:creationId xmlns:a16="http://schemas.microsoft.com/office/drawing/2014/main" id="{CCE69179-D9B8-4572-BEE1-B9AB95E11DD9}"/>
                  </a:ext>
                </a:extLst>
              </p:cNvPr>
              <p:cNvSpPr/>
              <p:nvPr/>
            </p:nvSpPr>
            <p:spPr>
              <a:xfrm>
                <a:off x="3048316" y="4409235"/>
                <a:ext cx="393062" cy="236052"/>
              </a:xfrm>
              <a:custGeom>
                <a:avLst/>
                <a:gdLst>
                  <a:gd name="connsiteX0" fmla="*/ 108737 w 393062"/>
                  <a:gd name="connsiteY0" fmla="*/ 3114 h 236052"/>
                  <a:gd name="connsiteX1" fmla="*/ 6480 w 393062"/>
                  <a:gd name="connsiteY1" fmla="*/ 126383 h 236052"/>
                  <a:gd name="connsiteX2" fmla="*/ 76519 w 393062"/>
                  <a:gd name="connsiteY2" fmla="*/ 159068 h 236052"/>
                  <a:gd name="connsiteX3" fmla="*/ 157765 w 393062"/>
                  <a:gd name="connsiteY3" fmla="*/ 193621 h 236052"/>
                  <a:gd name="connsiteX4" fmla="*/ 347337 w 393062"/>
                  <a:gd name="connsiteY4" fmla="*/ 231909 h 236052"/>
                  <a:gd name="connsiteX5" fmla="*/ 391229 w 393062"/>
                  <a:gd name="connsiteY5" fmla="*/ 207162 h 236052"/>
                  <a:gd name="connsiteX6" fmla="*/ 392162 w 393062"/>
                  <a:gd name="connsiteY6" fmla="*/ 175411 h 236052"/>
                  <a:gd name="connsiteX7" fmla="*/ 253952 w 393062"/>
                  <a:gd name="connsiteY7" fmla="*/ 72687 h 236052"/>
                  <a:gd name="connsiteX8" fmla="*/ 108737 w 393062"/>
                  <a:gd name="connsiteY8" fmla="*/ 3114 h 236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3062" h="236052">
                    <a:moveTo>
                      <a:pt x="108737" y="3114"/>
                    </a:moveTo>
                    <a:cubicBezTo>
                      <a:pt x="108737" y="3114"/>
                      <a:pt x="-31341" y="-30971"/>
                      <a:pt x="6480" y="126383"/>
                    </a:cubicBezTo>
                    <a:cubicBezTo>
                      <a:pt x="7881" y="132454"/>
                      <a:pt x="21889" y="167473"/>
                      <a:pt x="76519" y="159068"/>
                    </a:cubicBezTo>
                    <a:cubicBezTo>
                      <a:pt x="112940" y="153465"/>
                      <a:pt x="147025" y="185683"/>
                      <a:pt x="157765" y="193621"/>
                    </a:cubicBezTo>
                    <a:cubicBezTo>
                      <a:pt x="221267" y="240781"/>
                      <a:pt x="294108" y="239847"/>
                      <a:pt x="347337" y="231909"/>
                    </a:cubicBezTo>
                    <a:cubicBezTo>
                      <a:pt x="374419" y="228174"/>
                      <a:pt x="387493" y="219302"/>
                      <a:pt x="391229" y="207162"/>
                    </a:cubicBezTo>
                    <a:cubicBezTo>
                      <a:pt x="392629" y="202026"/>
                      <a:pt x="394030" y="181948"/>
                      <a:pt x="392162" y="175411"/>
                    </a:cubicBezTo>
                    <a:cubicBezTo>
                      <a:pt x="380489" y="136656"/>
                      <a:pt x="305781" y="96967"/>
                      <a:pt x="253952" y="72687"/>
                    </a:cubicBezTo>
                    <a:cubicBezTo>
                      <a:pt x="171773" y="33932"/>
                      <a:pt x="108737" y="3114"/>
                      <a:pt x="108737" y="3114"/>
                    </a:cubicBezTo>
                    <a:close/>
                  </a:path>
                </a:pathLst>
              </a:custGeom>
              <a:solidFill>
                <a:srgbClr val="FFFFFF"/>
              </a:solidFill>
              <a:ln w="46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371" name="Graphic 2">
                <a:extLst>
                  <a:ext uri="{FF2B5EF4-FFF2-40B4-BE49-F238E27FC236}">
                    <a16:creationId xmlns:a16="http://schemas.microsoft.com/office/drawing/2014/main" id="{60D14995-66DC-4B03-A13B-04E750908016}"/>
                  </a:ext>
                </a:extLst>
              </p:cNvPr>
              <p:cNvSpPr/>
              <p:nvPr/>
            </p:nvSpPr>
            <p:spPr>
              <a:xfrm>
                <a:off x="3044274" y="4386004"/>
                <a:ext cx="396291" cy="235731"/>
              </a:xfrm>
              <a:custGeom>
                <a:avLst/>
                <a:gdLst>
                  <a:gd name="connsiteX0" fmla="*/ 112780 w 396291"/>
                  <a:gd name="connsiteY0" fmla="*/ 2532 h 235731"/>
                  <a:gd name="connsiteX1" fmla="*/ 6320 w 396291"/>
                  <a:gd name="connsiteY1" fmla="*/ 128603 h 235731"/>
                  <a:gd name="connsiteX2" fmla="*/ 80562 w 396291"/>
                  <a:gd name="connsiteY2" fmla="*/ 158486 h 235731"/>
                  <a:gd name="connsiteX3" fmla="*/ 161807 w 396291"/>
                  <a:gd name="connsiteY3" fmla="*/ 193505 h 235731"/>
                  <a:gd name="connsiteX4" fmla="*/ 351380 w 396291"/>
                  <a:gd name="connsiteY4" fmla="*/ 231794 h 235731"/>
                  <a:gd name="connsiteX5" fmla="*/ 257994 w 396291"/>
                  <a:gd name="connsiteY5" fmla="*/ 72571 h 235731"/>
                  <a:gd name="connsiteX6" fmla="*/ 112780 w 396291"/>
                  <a:gd name="connsiteY6" fmla="*/ 2532 h 235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6291" h="235731">
                    <a:moveTo>
                      <a:pt x="112780" y="2532"/>
                    </a:moveTo>
                    <a:cubicBezTo>
                      <a:pt x="112780" y="2532"/>
                      <a:pt x="-31501" y="-28752"/>
                      <a:pt x="6320" y="128603"/>
                    </a:cubicBezTo>
                    <a:cubicBezTo>
                      <a:pt x="7721" y="134672"/>
                      <a:pt x="25931" y="166891"/>
                      <a:pt x="80562" y="158486"/>
                    </a:cubicBezTo>
                    <a:cubicBezTo>
                      <a:pt x="116982" y="152883"/>
                      <a:pt x="151068" y="185568"/>
                      <a:pt x="161807" y="193505"/>
                    </a:cubicBezTo>
                    <a:cubicBezTo>
                      <a:pt x="225309" y="240665"/>
                      <a:pt x="298150" y="239265"/>
                      <a:pt x="351380" y="231794"/>
                    </a:cubicBezTo>
                    <a:cubicBezTo>
                      <a:pt x="464843" y="215451"/>
                      <a:pt x="336905" y="109925"/>
                      <a:pt x="257994" y="72571"/>
                    </a:cubicBezTo>
                    <a:cubicBezTo>
                      <a:pt x="175815" y="33349"/>
                      <a:pt x="112780" y="2532"/>
                      <a:pt x="112780" y="2532"/>
                    </a:cubicBezTo>
                    <a:close/>
                  </a:path>
                </a:pathLst>
              </a:custGeom>
              <a:solidFill>
                <a:srgbClr val="2980B9"/>
              </a:solidFill>
              <a:ln w="46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372" name="Graphic 2">
                <a:extLst>
                  <a:ext uri="{FF2B5EF4-FFF2-40B4-BE49-F238E27FC236}">
                    <a16:creationId xmlns:a16="http://schemas.microsoft.com/office/drawing/2014/main" id="{B69ACF81-D0F1-43EE-9F19-00E5C1A91984}"/>
                  </a:ext>
                </a:extLst>
              </p:cNvPr>
              <p:cNvSpPr/>
              <p:nvPr/>
            </p:nvSpPr>
            <p:spPr>
              <a:xfrm>
                <a:off x="2925047" y="4532503"/>
                <a:ext cx="393180" cy="235846"/>
              </a:xfrm>
              <a:custGeom>
                <a:avLst/>
                <a:gdLst>
                  <a:gd name="connsiteX0" fmla="*/ 108737 w 393180"/>
                  <a:gd name="connsiteY0" fmla="*/ 3114 h 235846"/>
                  <a:gd name="connsiteX1" fmla="*/ 6480 w 393180"/>
                  <a:gd name="connsiteY1" fmla="*/ 126383 h 235846"/>
                  <a:gd name="connsiteX2" fmla="*/ 76519 w 393180"/>
                  <a:gd name="connsiteY2" fmla="*/ 159068 h 235846"/>
                  <a:gd name="connsiteX3" fmla="*/ 157765 w 393180"/>
                  <a:gd name="connsiteY3" fmla="*/ 193621 h 235846"/>
                  <a:gd name="connsiteX4" fmla="*/ 347337 w 393180"/>
                  <a:gd name="connsiteY4" fmla="*/ 231909 h 235846"/>
                  <a:gd name="connsiteX5" fmla="*/ 391229 w 393180"/>
                  <a:gd name="connsiteY5" fmla="*/ 207162 h 235846"/>
                  <a:gd name="connsiteX6" fmla="*/ 392162 w 393180"/>
                  <a:gd name="connsiteY6" fmla="*/ 175411 h 235846"/>
                  <a:gd name="connsiteX7" fmla="*/ 253952 w 393180"/>
                  <a:gd name="connsiteY7" fmla="*/ 72220 h 235846"/>
                  <a:gd name="connsiteX8" fmla="*/ 108737 w 393180"/>
                  <a:gd name="connsiteY8" fmla="*/ 3114 h 235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3180" h="235846">
                    <a:moveTo>
                      <a:pt x="108737" y="3114"/>
                    </a:moveTo>
                    <a:cubicBezTo>
                      <a:pt x="108737" y="3114"/>
                      <a:pt x="-31341" y="-30971"/>
                      <a:pt x="6480" y="126383"/>
                    </a:cubicBezTo>
                    <a:cubicBezTo>
                      <a:pt x="7881" y="132454"/>
                      <a:pt x="21422" y="167473"/>
                      <a:pt x="76519" y="159068"/>
                    </a:cubicBezTo>
                    <a:cubicBezTo>
                      <a:pt x="112940" y="153465"/>
                      <a:pt x="147025" y="185683"/>
                      <a:pt x="157765" y="193621"/>
                    </a:cubicBezTo>
                    <a:cubicBezTo>
                      <a:pt x="220800" y="240781"/>
                      <a:pt x="294108" y="239380"/>
                      <a:pt x="347337" y="231909"/>
                    </a:cubicBezTo>
                    <a:cubicBezTo>
                      <a:pt x="374419" y="228174"/>
                      <a:pt x="387493" y="218835"/>
                      <a:pt x="391229" y="207162"/>
                    </a:cubicBezTo>
                    <a:cubicBezTo>
                      <a:pt x="393096" y="202026"/>
                      <a:pt x="394030" y="181948"/>
                      <a:pt x="392162" y="175411"/>
                    </a:cubicBezTo>
                    <a:cubicBezTo>
                      <a:pt x="380489" y="136656"/>
                      <a:pt x="305781" y="96967"/>
                      <a:pt x="253952" y="72220"/>
                    </a:cubicBezTo>
                    <a:cubicBezTo>
                      <a:pt x="172240" y="33932"/>
                      <a:pt x="108737" y="3114"/>
                      <a:pt x="108737" y="3114"/>
                    </a:cubicBezTo>
                    <a:close/>
                  </a:path>
                </a:pathLst>
              </a:custGeom>
              <a:solidFill>
                <a:srgbClr val="FFFFFF"/>
              </a:solidFill>
              <a:ln w="46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373" name="Graphic 2">
                <a:extLst>
                  <a:ext uri="{FF2B5EF4-FFF2-40B4-BE49-F238E27FC236}">
                    <a16:creationId xmlns:a16="http://schemas.microsoft.com/office/drawing/2014/main" id="{E86715EA-1952-4449-9763-DB5082837152}"/>
                  </a:ext>
                </a:extLst>
              </p:cNvPr>
              <p:cNvSpPr/>
              <p:nvPr/>
            </p:nvSpPr>
            <p:spPr>
              <a:xfrm>
                <a:off x="2920877" y="4508806"/>
                <a:ext cx="396419" cy="235470"/>
              </a:xfrm>
              <a:custGeom>
                <a:avLst/>
                <a:gdLst>
                  <a:gd name="connsiteX0" fmla="*/ 112907 w 396419"/>
                  <a:gd name="connsiteY0" fmla="*/ 2532 h 235470"/>
                  <a:gd name="connsiteX1" fmla="*/ 6447 w 396419"/>
                  <a:gd name="connsiteY1" fmla="*/ 128602 h 235470"/>
                  <a:gd name="connsiteX2" fmla="*/ 80689 w 396419"/>
                  <a:gd name="connsiteY2" fmla="*/ 158486 h 235470"/>
                  <a:gd name="connsiteX3" fmla="*/ 161934 w 396419"/>
                  <a:gd name="connsiteY3" fmla="*/ 193039 h 235470"/>
                  <a:gd name="connsiteX4" fmla="*/ 351507 w 396419"/>
                  <a:gd name="connsiteY4" fmla="*/ 231327 h 235470"/>
                  <a:gd name="connsiteX5" fmla="*/ 258121 w 396419"/>
                  <a:gd name="connsiteY5" fmla="*/ 72104 h 235470"/>
                  <a:gd name="connsiteX6" fmla="*/ 112907 w 396419"/>
                  <a:gd name="connsiteY6" fmla="*/ 2532 h 2354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6419" h="235470">
                    <a:moveTo>
                      <a:pt x="112907" y="2532"/>
                    </a:moveTo>
                    <a:cubicBezTo>
                      <a:pt x="112907" y="2532"/>
                      <a:pt x="-31841" y="-28752"/>
                      <a:pt x="6447" y="128602"/>
                    </a:cubicBezTo>
                    <a:cubicBezTo>
                      <a:pt x="7848" y="134673"/>
                      <a:pt x="26058" y="166891"/>
                      <a:pt x="80689" y="158486"/>
                    </a:cubicBezTo>
                    <a:cubicBezTo>
                      <a:pt x="117109" y="152883"/>
                      <a:pt x="151195" y="185101"/>
                      <a:pt x="161934" y="193039"/>
                    </a:cubicBezTo>
                    <a:cubicBezTo>
                      <a:pt x="224969" y="240198"/>
                      <a:pt x="298277" y="239264"/>
                      <a:pt x="351507" y="231327"/>
                    </a:cubicBezTo>
                    <a:cubicBezTo>
                      <a:pt x="464970" y="214984"/>
                      <a:pt x="337032" y="109459"/>
                      <a:pt x="258121" y="72104"/>
                    </a:cubicBezTo>
                    <a:cubicBezTo>
                      <a:pt x="176409" y="33349"/>
                      <a:pt x="112907" y="2532"/>
                      <a:pt x="112907" y="2532"/>
                    </a:cubicBezTo>
                    <a:close/>
                  </a:path>
                </a:pathLst>
              </a:custGeom>
              <a:solidFill>
                <a:srgbClr val="2980B9"/>
              </a:solidFill>
              <a:ln w="46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374" name="Graphic 2">
                <a:extLst>
                  <a:ext uri="{FF2B5EF4-FFF2-40B4-BE49-F238E27FC236}">
                    <a16:creationId xmlns:a16="http://schemas.microsoft.com/office/drawing/2014/main" id="{8ECD88C8-074B-44F6-B978-6EAA412589B9}"/>
                  </a:ext>
                </a:extLst>
              </p:cNvPr>
              <p:cNvSpPr/>
              <p:nvPr/>
            </p:nvSpPr>
            <p:spPr>
              <a:xfrm>
                <a:off x="3032384" y="3606549"/>
                <a:ext cx="270758" cy="892566"/>
              </a:xfrm>
              <a:custGeom>
                <a:avLst/>
                <a:gdLst>
                  <a:gd name="connsiteX0" fmla="*/ 253542 w 270758"/>
                  <a:gd name="connsiteY0" fmla="*/ 350 h 892566"/>
                  <a:gd name="connsiteX1" fmla="*/ 253542 w 270758"/>
                  <a:gd name="connsiteY1" fmla="*/ 350 h 892566"/>
                  <a:gd name="connsiteX2" fmla="*/ 0 w 270758"/>
                  <a:gd name="connsiteY2" fmla="*/ 212335 h 892566"/>
                  <a:gd name="connsiteX3" fmla="*/ 17276 w 270758"/>
                  <a:gd name="connsiteY3" fmla="*/ 257160 h 892566"/>
                  <a:gd name="connsiteX4" fmla="*/ 17276 w 270758"/>
                  <a:gd name="connsiteY4" fmla="*/ 861365 h 892566"/>
                  <a:gd name="connsiteX5" fmla="*/ 243736 w 270758"/>
                  <a:gd name="connsiteY5" fmla="*/ 824945 h 892566"/>
                  <a:gd name="connsiteX6" fmla="*/ 253542 w 270758"/>
                  <a:gd name="connsiteY6" fmla="*/ 350 h 892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0758" h="892566">
                    <a:moveTo>
                      <a:pt x="253542" y="350"/>
                    </a:moveTo>
                    <a:cubicBezTo>
                      <a:pt x="253542" y="-117"/>
                      <a:pt x="253542" y="-117"/>
                      <a:pt x="253542" y="350"/>
                    </a:cubicBezTo>
                    <a:cubicBezTo>
                      <a:pt x="149884" y="36771"/>
                      <a:pt x="64436" y="116148"/>
                      <a:pt x="0" y="212335"/>
                    </a:cubicBezTo>
                    <a:cubicBezTo>
                      <a:pt x="3268" y="236149"/>
                      <a:pt x="16809" y="217005"/>
                      <a:pt x="17276" y="257160"/>
                    </a:cubicBezTo>
                    <a:cubicBezTo>
                      <a:pt x="18677" y="380896"/>
                      <a:pt x="43891" y="649847"/>
                      <a:pt x="17276" y="861365"/>
                    </a:cubicBezTo>
                    <a:cubicBezTo>
                      <a:pt x="64903" y="937941"/>
                      <a:pt x="243736" y="852960"/>
                      <a:pt x="243736" y="824945"/>
                    </a:cubicBezTo>
                    <a:cubicBezTo>
                      <a:pt x="244670" y="757707"/>
                      <a:pt x="296966" y="81129"/>
                      <a:pt x="253542" y="350"/>
                    </a:cubicBezTo>
                    <a:close/>
                  </a:path>
                </a:pathLst>
              </a:custGeom>
              <a:solidFill>
                <a:srgbClr val="040F2D"/>
              </a:solidFill>
              <a:ln w="46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375" name="Graphic 2">
                <a:extLst>
                  <a:ext uri="{FF2B5EF4-FFF2-40B4-BE49-F238E27FC236}">
                    <a16:creationId xmlns:a16="http://schemas.microsoft.com/office/drawing/2014/main" id="{FD4D4550-36CD-404F-B3C7-D69BA5DADFEB}"/>
                  </a:ext>
                </a:extLst>
              </p:cNvPr>
              <p:cNvSpPr/>
              <p:nvPr/>
            </p:nvSpPr>
            <p:spPr>
              <a:xfrm>
                <a:off x="2269991" y="3382995"/>
                <a:ext cx="966906" cy="1260957"/>
              </a:xfrm>
              <a:custGeom>
                <a:avLst/>
                <a:gdLst>
                  <a:gd name="connsiteX0" fmla="*/ 730174 w 966906"/>
                  <a:gd name="connsiteY0" fmla="*/ 492388 h 1260957"/>
                  <a:gd name="connsiteX1" fmla="*/ 726906 w 966906"/>
                  <a:gd name="connsiteY1" fmla="*/ 464839 h 1260957"/>
                  <a:gd name="connsiteX2" fmla="*/ 733910 w 966906"/>
                  <a:gd name="connsiteY2" fmla="*/ 488652 h 1260957"/>
                  <a:gd name="connsiteX3" fmla="*/ 966907 w 966906"/>
                  <a:gd name="connsiteY3" fmla="*/ 258457 h 1260957"/>
                  <a:gd name="connsiteX4" fmla="*/ 513987 w 966906"/>
                  <a:gd name="connsiteY4" fmla="*/ 17055 h 1260957"/>
                  <a:gd name="connsiteX5" fmla="*/ 500913 w 966906"/>
                  <a:gd name="connsiteY5" fmla="*/ 713 h 1260957"/>
                  <a:gd name="connsiteX6" fmla="*/ 15308 w 966906"/>
                  <a:gd name="connsiteY6" fmla="*/ 52542 h 1260957"/>
                  <a:gd name="connsiteX7" fmla="*/ 62468 w 966906"/>
                  <a:gd name="connsiteY7" fmla="*/ 379391 h 1260957"/>
                  <a:gd name="connsiteX8" fmla="*/ 475699 w 966906"/>
                  <a:gd name="connsiteY8" fmla="*/ 560559 h 1260957"/>
                  <a:gd name="connsiteX9" fmla="*/ 658734 w 966906"/>
                  <a:gd name="connsiteY9" fmla="*/ 1218460 h 1260957"/>
                  <a:gd name="connsiteX10" fmla="*/ 900603 w 966906"/>
                  <a:gd name="connsiteY10" fmla="*/ 1166631 h 1260957"/>
                  <a:gd name="connsiteX11" fmla="*/ 730174 w 966906"/>
                  <a:gd name="connsiteY11" fmla="*/ 492388 h 1260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66906" h="1260957">
                    <a:moveTo>
                      <a:pt x="730174" y="492388"/>
                    </a:moveTo>
                    <a:cubicBezTo>
                      <a:pt x="728774" y="482582"/>
                      <a:pt x="727840" y="473244"/>
                      <a:pt x="726906" y="464839"/>
                    </a:cubicBezTo>
                    <a:cubicBezTo>
                      <a:pt x="729241" y="470442"/>
                      <a:pt x="731575" y="478847"/>
                      <a:pt x="733910" y="488652"/>
                    </a:cubicBezTo>
                    <a:cubicBezTo>
                      <a:pt x="809085" y="409275"/>
                      <a:pt x="873988" y="320091"/>
                      <a:pt x="966907" y="258457"/>
                    </a:cubicBezTo>
                    <a:cubicBezTo>
                      <a:pt x="894533" y="160869"/>
                      <a:pt x="620913" y="40402"/>
                      <a:pt x="513987" y="17055"/>
                    </a:cubicBezTo>
                    <a:cubicBezTo>
                      <a:pt x="504648" y="5849"/>
                      <a:pt x="505115" y="-2556"/>
                      <a:pt x="500913" y="713"/>
                    </a:cubicBezTo>
                    <a:cubicBezTo>
                      <a:pt x="357099" y="101569"/>
                      <a:pt x="17176" y="40402"/>
                      <a:pt x="15308" y="52542"/>
                    </a:cubicBezTo>
                    <a:cubicBezTo>
                      <a:pt x="1300" y="158068"/>
                      <a:pt x="-26248" y="275733"/>
                      <a:pt x="62468" y="379391"/>
                    </a:cubicBezTo>
                    <a:cubicBezTo>
                      <a:pt x="102157" y="425617"/>
                      <a:pt x="405660" y="527407"/>
                      <a:pt x="475699" y="560559"/>
                    </a:cubicBezTo>
                    <a:cubicBezTo>
                      <a:pt x="480368" y="562894"/>
                      <a:pt x="658268" y="1203986"/>
                      <a:pt x="658734" y="1218460"/>
                    </a:cubicBezTo>
                    <a:cubicBezTo>
                      <a:pt x="661536" y="1274492"/>
                      <a:pt x="900603" y="1291301"/>
                      <a:pt x="900603" y="1166631"/>
                    </a:cubicBezTo>
                    <a:cubicBezTo>
                      <a:pt x="900603" y="1160561"/>
                      <a:pt x="734377" y="521337"/>
                      <a:pt x="730174" y="492388"/>
                    </a:cubicBezTo>
                    <a:close/>
                  </a:path>
                </a:pathLst>
              </a:custGeom>
              <a:solidFill>
                <a:srgbClr val="022540"/>
              </a:solidFill>
              <a:ln w="46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grpSp>
            <p:nvGrpSpPr>
              <p:cNvPr id="376" name="Graphic 2">
                <a:extLst>
                  <a:ext uri="{FF2B5EF4-FFF2-40B4-BE49-F238E27FC236}">
                    <a16:creationId xmlns:a16="http://schemas.microsoft.com/office/drawing/2014/main" id="{E8B25036-9AA0-4881-AC21-2480CC3E2D84}"/>
                  </a:ext>
                </a:extLst>
              </p:cNvPr>
              <p:cNvGrpSpPr/>
              <p:nvPr/>
            </p:nvGrpSpPr>
            <p:grpSpPr>
              <a:xfrm>
                <a:off x="2196116" y="2524561"/>
                <a:ext cx="792260" cy="1115955"/>
                <a:chOff x="2196116" y="2524561"/>
                <a:chExt cx="792260" cy="1115955"/>
              </a:xfrm>
            </p:grpSpPr>
            <p:sp>
              <p:nvSpPr>
                <p:cNvPr id="436" name="Graphic 2">
                  <a:extLst>
                    <a:ext uri="{FF2B5EF4-FFF2-40B4-BE49-F238E27FC236}">
                      <a16:creationId xmlns:a16="http://schemas.microsoft.com/office/drawing/2014/main" id="{08E1E17A-B406-4C87-810A-81243F676329}"/>
                    </a:ext>
                  </a:extLst>
                </p:cNvPr>
                <p:cNvSpPr/>
                <p:nvPr/>
              </p:nvSpPr>
              <p:spPr>
                <a:xfrm>
                  <a:off x="2573042" y="2603230"/>
                  <a:ext cx="415334" cy="575847"/>
                </a:xfrm>
                <a:custGeom>
                  <a:avLst/>
                  <a:gdLst>
                    <a:gd name="connsiteX0" fmla="*/ 267434 w 415334"/>
                    <a:gd name="connsiteY0" fmla="*/ 537675 h 575847"/>
                    <a:gd name="connsiteX1" fmla="*/ 377162 w 415334"/>
                    <a:gd name="connsiteY1" fmla="*/ 563823 h 575847"/>
                    <a:gd name="connsiteX2" fmla="*/ 377162 w 415334"/>
                    <a:gd name="connsiteY2" fmla="*/ 563823 h 575847"/>
                    <a:gd name="connsiteX3" fmla="*/ 403310 w 415334"/>
                    <a:gd name="connsiteY3" fmla="*/ 454095 h 575847"/>
                    <a:gd name="connsiteX4" fmla="*/ 147900 w 415334"/>
                    <a:gd name="connsiteY4" fmla="*/ 38062 h 575847"/>
                    <a:gd name="connsiteX5" fmla="*/ 38172 w 415334"/>
                    <a:gd name="connsiteY5" fmla="*/ 11914 h 575847"/>
                    <a:gd name="connsiteX6" fmla="*/ 38172 w 415334"/>
                    <a:gd name="connsiteY6" fmla="*/ 11914 h 575847"/>
                    <a:gd name="connsiteX7" fmla="*/ 12025 w 415334"/>
                    <a:gd name="connsiteY7" fmla="*/ 121642 h 575847"/>
                    <a:gd name="connsiteX8" fmla="*/ 267434 w 415334"/>
                    <a:gd name="connsiteY8" fmla="*/ 537675 h 5758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15334" h="575847">
                      <a:moveTo>
                        <a:pt x="267434" y="537675"/>
                      </a:moveTo>
                      <a:cubicBezTo>
                        <a:pt x="290313" y="575496"/>
                        <a:pt x="339808" y="587169"/>
                        <a:pt x="377162" y="563823"/>
                      </a:cubicBezTo>
                      <a:lnTo>
                        <a:pt x="377162" y="563823"/>
                      </a:lnTo>
                      <a:cubicBezTo>
                        <a:pt x="414983" y="540476"/>
                        <a:pt x="426656" y="491449"/>
                        <a:pt x="403310" y="454095"/>
                      </a:cubicBezTo>
                      <a:lnTo>
                        <a:pt x="147900" y="38062"/>
                      </a:lnTo>
                      <a:cubicBezTo>
                        <a:pt x="125021" y="708"/>
                        <a:pt x="75527" y="-11432"/>
                        <a:pt x="38172" y="11914"/>
                      </a:cubicBezTo>
                      <a:lnTo>
                        <a:pt x="38172" y="11914"/>
                      </a:lnTo>
                      <a:cubicBezTo>
                        <a:pt x="351" y="34794"/>
                        <a:pt x="-11322" y="84288"/>
                        <a:pt x="12025" y="121642"/>
                      </a:cubicBezTo>
                      <a:lnTo>
                        <a:pt x="267434" y="537675"/>
                      </a:lnTo>
                      <a:close/>
                    </a:path>
                  </a:pathLst>
                </a:custGeom>
                <a:solidFill>
                  <a:srgbClr val="E5BD99"/>
                </a:solidFill>
                <a:ln w="4665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ID"/>
                </a:p>
              </p:txBody>
            </p:sp>
            <p:sp>
              <p:nvSpPr>
                <p:cNvPr id="437" name="Graphic 2">
                  <a:extLst>
                    <a:ext uri="{FF2B5EF4-FFF2-40B4-BE49-F238E27FC236}">
                      <a16:creationId xmlns:a16="http://schemas.microsoft.com/office/drawing/2014/main" id="{BDBFE4E1-C9D8-4738-8859-EBB553BE1B0E}"/>
                    </a:ext>
                  </a:extLst>
                </p:cNvPr>
                <p:cNvSpPr/>
                <p:nvPr/>
              </p:nvSpPr>
              <p:spPr>
                <a:xfrm>
                  <a:off x="2211525" y="2597400"/>
                  <a:ext cx="486023" cy="487941"/>
                </a:xfrm>
                <a:custGeom>
                  <a:avLst/>
                  <a:gdLst>
                    <a:gd name="connsiteX0" fmla="*/ 0 w 486023"/>
                    <a:gd name="connsiteY0" fmla="*/ 188174 h 487941"/>
                    <a:gd name="connsiteX1" fmla="*/ 291363 w 486023"/>
                    <a:gd name="connsiteY1" fmla="*/ 2 h 487941"/>
                    <a:gd name="connsiteX2" fmla="*/ 476266 w 486023"/>
                    <a:gd name="connsiteY2" fmla="*/ 14010 h 487941"/>
                    <a:gd name="connsiteX3" fmla="*/ 440780 w 486023"/>
                    <a:gd name="connsiteY3" fmla="*/ 80780 h 487941"/>
                    <a:gd name="connsiteX4" fmla="*/ 357200 w 486023"/>
                    <a:gd name="connsiteY4" fmla="*/ 487941 h 487941"/>
                    <a:gd name="connsiteX5" fmla="*/ 0 w 486023"/>
                    <a:gd name="connsiteY5" fmla="*/ 188174 h 4879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86023" h="487941">
                      <a:moveTo>
                        <a:pt x="0" y="188174"/>
                      </a:moveTo>
                      <a:cubicBezTo>
                        <a:pt x="0" y="114866"/>
                        <a:pt x="218055" y="2"/>
                        <a:pt x="291363" y="2"/>
                      </a:cubicBezTo>
                      <a:cubicBezTo>
                        <a:pt x="323581" y="2"/>
                        <a:pt x="448717" y="-465"/>
                        <a:pt x="476266" y="14010"/>
                      </a:cubicBezTo>
                      <a:cubicBezTo>
                        <a:pt x="511286" y="32687"/>
                        <a:pt x="440780" y="39691"/>
                        <a:pt x="440780" y="80780"/>
                      </a:cubicBezTo>
                      <a:cubicBezTo>
                        <a:pt x="440780" y="154088"/>
                        <a:pt x="430040" y="487941"/>
                        <a:pt x="357200" y="487941"/>
                      </a:cubicBezTo>
                      <a:cubicBezTo>
                        <a:pt x="283425" y="487941"/>
                        <a:pt x="0" y="261481"/>
                        <a:pt x="0" y="188174"/>
                      </a:cubicBezTo>
                      <a:close/>
                    </a:path>
                  </a:pathLst>
                </a:custGeom>
                <a:solidFill>
                  <a:srgbClr val="E5BD99"/>
                </a:solidFill>
                <a:ln w="4665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ID"/>
                </a:p>
              </p:txBody>
            </p:sp>
            <p:sp>
              <p:nvSpPr>
                <p:cNvPr id="438" name="Graphic 2">
                  <a:extLst>
                    <a:ext uri="{FF2B5EF4-FFF2-40B4-BE49-F238E27FC236}">
                      <a16:creationId xmlns:a16="http://schemas.microsoft.com/office/drawing/2014/main" id="{13AB634A-CA40-4630-B5ED-9FBBD9A68088}"/>
                    </a:ext>
                  </a:extLst>
                </p:cNvPr>
                <p:cNvSpPr/>
                <p:nvPr/>
              </p:nvSpPr>
              <p:spPr>
                <a:xfrm>
                  <a:off x="2617285" y="2603658"/>
                  <a:ext cx="248872" cy="387363"/>
                </a:xfrm>
                <a:custGeom>
                  <a:avLst/>
                  <a:gdLst>
                    <a:gd name="connsiteX0" fmla="*/ 15876 w 248872"/>
                    <a:gd name="connsiteY0" fmla="*/ 35300 h 387363"/>
                    <a:gd name="connsiteX1" fmla="*/ 0 w 248872"/>
                    <a:gd name="connsiteY1" fmla="*/ 6350 h 387363"/>
                    <a:gd name="connsiteX2" fmla="*/ 111129 w 248872"/>
                    <a:gd name="connsiteY2" fmla="*/ 43238 h 387363"/>
                    <a:gd name="connsiteX3" fmla="*/ 248872 w 248872"/>
                    <a:gd name="connsiteY3" fmla="*/ 267363 h 387363"/>
                    <a:gd name="connsiteX4" fmla="*/ 223658 w 248872"/>
                    <a:gd name="connsiteY4" fmla="*/ 286040 h 387363"/>
                    <a:gd name="connsiteX5" fmla="*/ 134942 w 248872"/>
                    <a:gd name="connsiteY5" fmla="*/ 362149 h 387363"/>
                    <a:gd name="connsiteX6" fmla="*/ 108794 w 248872"/>
                    <a:gd name="connsiteY6" fmla="*/ 387363 h 387363"/>
                    <a:gd name="connsiteX7" fmla="*/ 39689 w 248872"/>
                    <a:gd name="connsiteY7" fmla="*/ 274367 h 387363"/>
                    <a:gd name="connsiteX8" fmla="*/ 15876 w 248872"/>
                    <a:gd name="connsiteY8" fmla="*/ 35300 h 3873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48872" h="387363">
                      <a:moveTo>
                        <a:pt x="15876" y="35300"/>
                      </a:moveTo>
                      <a:cubicBezTo>
                        <a:pt x="11673" y="24094"/>
                        <a:pt x="6537" y="14755"/>
                        <a:pt x="0" y="6350"/>
                      </a:cubicBezTo>
                      <a:cubicBezTo>
                        <a:pt x="40623" y="-9525"/>
                        <a:pt x="87782" y="4950"/>
                        <a:pt x="111129" y="43238"/>
                      </a:cubicBezTo>
                      <a:lnTo>
                        <a:pt x="248872" y="267363"/>
                      </a:lnTo>
                      <a:cubicBezTo>
                        <a:pt x="240468" y="273900"/>
                        <a:pt x="231596" y="279970"/>
                        <a:pt x="223658" y="286040"/>
                      </a:cubicBezTo>
                      <a:cubicBezTo>
                        <a:pt x="192374" y="309853"/>
                        <a:pt x="163425" y="335534"/>
                        <a:pt x="134942" y="362149"/>
                      </a:cubicBezTo>
                      <a:cubicBezTo>
                        <a:pt x="126070" y="370554"/>
                        <a:pt x="117199" y="378959"/>
                        <a:pt x="108794" y="387363"/>
                      </a:cubicBezTo>
                      <a:lnTo>
                        <a:pt x="39689" y="274367"/>
                      </a:lnTo>
                      <a:cubicBezTo>
                        <a:pt x="43891" y="194522"/>
                        <a:pt x="42957" y="108607"/>
                        <a:pt x="15876" y="3530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4665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ID"/>
                </a:p>
              </p:txBody>
            </p:sp>
            <p:sp>
              <p:nvSpPr>
                <p:cNvPr id="439" name="Graphic 2">
                  <a:extLst>
                    <a:ext uri="{FF2B5EF4-FFF2-40B4-BE49-F238E27FC236}">
                      <a16:creationId xmlns:a16="http://schemas.microsoft.com/office/drawing/2014/main" id="{478B57A8-EB60-491A-ABA4-C4EF29E6C3E0}"/>
                    </a:ext>
                  </a:extLst>
                </p:cNvPr>
                <p:cNvSpPr/>
                <p:nvPr/>
              </p:nvSpPr>
              <p:spPr>
                <a:xfrm>
                  <a:off x="2196116" y="2599269"/>
                  <a:ext cx="628612" cy="1041247"/>
                </a:xfrm>
                <a:custGeom>
                  <a:avLst/>
                  <a:gdLst>
                    <a:gd name="connsiteX0" fmla="*/ 71907 w 628612"/>
                    <a:gd name="connsiteY0" fmla="*/ 1001093 h 1041247"/>
                    <a:gd name="connsiteX1" fmla="*/ 0 w 628612"/>
                    <a:gd name="connsiteY1" fmla="*/ 379145 h 1041247"/>
                    <a:gd name="connsiteX2" fmla="*/ 24280 w 628612"/>
                    <a:gd name="connsiteY2" fmla="*/ 137277 h 1041247"/>
                    <a:gd name="connsiteX3" fmla="*/ 180234 w 628612"/>
                    <a:gd name="connsiteY3" fmla="*/ 39689 h 1041247"/>
                    <a:gd name="connsiteX4" fmla="*/ 342258 w 628612"/>
                    <a:gd name="connsiteY4" fmla="*/ 105526 h 1041247"/>
                    <a:gd name="connsiteX5" fmla="*/ 402025 w 628612"/>
                    <a:gd name="connsiteY5" fmla="*/ 0 h 1041247"/>
                    <a:gd name="connsiteX6" fmla="*/ 468328 w 628612"/>
                    <a:gd name="connsiteY6" fmla="*/ 8872 h 1041247"/>
                    <a:gd name="connsiteX7" fmla="*/ 537434 w 628612"/>
                    <a:gd name="connsiteY7" fmla="*/ 245604 h 1041247"/>
                    <a:gd name="connsiteX8" fmla="*/ 626617 w 628612"/>
                    <a:gd name="connsiteY8" fmla="*/ 783972 h 1041247"/>
                    <a:gd name="connsiteX9" fmla="*/ 71907 w 628612"/>
                    <a:gd name="connsiteY9" fmla="*/ 1001093 h 10412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28612" h="1041247">
                      <a:moveTo>
                        <a:pt x="71907" y="1001093"/>
                      </a:moveTo>
                      <a:cubicBezTo>
                        <a:pt x="51829" y="976346"/>
                        <a:pt x="0" y="379145"/>
                        <a:pt x="0" y="379145"/>
                      </a:cubicBezTo>
                      <a:cubicBezTo>
                        <a:pt x="4669" y="341324"/>
                        <a:pt x="934" y="176499"/>
                        <a:pt x="24280" y="137277"/>
                      </a:cubicBezTo>
                      <a:cubicBezTo>
                        <a:pt x="47627" y="97121"/>
                        <a:pt x="134475" y="59767"/>
                        <a:pt x="180234" y="39689"/>
                      </a:cubicBezTo>
                      <a:cubicBezTo>
                        <a:pt x="180234" y="39689"/>
                        <a:pt x="298834" y="121401"/>
                        <a:pt x="342258" y="105526"/>
                      </a:cubicBezTo>
                      <a:cubicBezTo>
                        <a:pt x="379145" y="91985"/>
                        <a:pt x="402025" y="0"/>
                        <a:pt x="402025" y="0"/>
                      </a:cubicBezTo>
                      <a:cubicBezTo>
                        <a:pt x="443114" y="0"/>
                        <a:pt x="458990" y="934"/>
                        <a:pt x="468328" y="8872"/>
                      </a:cubicBezTo>
                      <a:cubicBezTo>
                        <a:pt x="527161" y="56031"/>
                        <a:pt x="534632" y="196110"/>
                        <a:pt x="537434" y="245604"/>
                      </a:cubicBezTo>
                      <a:cubicBezTo>
                        <a:pt x="546305" y="398756"/>
                        <a:pt x="578056" y="539301"/>
                        <a:pt x="626617" y="783972"/>
                      </a:cubicBezTo>
                      <a:cubicBezTo>
                        <a:pt x="663971" y="970276"/>
                        <a:pt x="165759" y="1114556"/>
                        <a:pt x="71907" y="1001093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4665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ID"/>
                </a:p>
              </p:txBody>
            </p:sp>
            <p:grpSp>
              <p:nvGrpSpPr>
                <p:cNvPr id="440" name="Graphic 2">
                  <a:extLst>
                    <a:ext uri="{FF2B5EF4-FFF2-40B4-BE49-F238E27FC236}">
                      <a16:creationId xmlns:a16="http://schemas.microsoft.com/office/drawing/2014/main" id="{C556C276-7CB5-4FCE-9885-04C04BFE60A5}"/>
                    </a:ext>
                  </a:extLst>
                </p:cNvPr>
                <p:cNvGrpSpPr/>
                <p:nvPr/>
              </p:nvGrpSpPr>
              <p:grpSpPr>
                <a:xfrm>
                  <a:off x="2438919" y="2864484"/>
                  <a:ext cx="240467" cy="284825"/>
                  <a:chOff x="2438919" y="2864484"/>
                  <a:chExt cx="240467" cy="284825"/>
                </a:xfrm>
              </p:grpSpPr>
              <p:sp>
                <p:nvSpPr>
                  <p:cNvPr id="442" name="Graphic 2">
                    <a:extLst>
                      <a:ext uri="{FF2B5EF4-FFF2-40B4-BE49-F238E27FC236}">
                        <a16:creationId xmlns:a16="http://schemas.microsoft.com/office/drawing/2014/main" id="{E1AF53AA-9DFE-4E90-AE47-F223739EC6B5}"/>
                      </a:ext>
                    </a:extLst>
                  </p:cNvPr>
                  <p:cNvSpPr/>
                  <p:nvPr/>
                </p:nvSpPr>
                <p:spPr>
                  <a:xfrm>
                    <a:off x="2619620" y="2864484"/>
                    <a:ext cx="41089" cy="22412"/>
                  </a:xfrm>
                  <a:custGeom>
                    <a:avLst/>
                    <a:gdLst>
                      <a:gd name="connsiteX0" fmla="*/ 0 w 41089"/>
                      <a:gd name="connsiteY0" fmla="*/ 13541 h 22412"/>
                      <a:gd name="connsiteX1" fmla="*/ 7938 w 41089"/>
                      <a:gd name="connsiteY1" fmla="*/ 0 h 22412"/>
                      <a:gd name="connsiteX2" fmla="*/ 41090 w 41089"/>
                      <a:gd name="connsiteY2" fmla="*/ 9339 h 22412"/>
                      <a:gd name="connsiteX3" fmla="*/ 40156 w 41089"/>
                      <a:gd name="connsiteY3" fmla="*/ 10272 h 22412"/>
                      <a:gd name="connsiteX4" fmla="*/ 31751 w 41089"/>
                      <a:gd name="connsiteY4" fmla="*/ 22413 h 22412"/>
                      <a:gd name="connsiteX5" fmla="*/ 0 w 41089"/>
                      <a:gd name="connsiteY5" fmla="*/ 13541 h 224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1089" h="22412">
                        <a:moveTo>
                          <a:pt x="0" y="13541"/>
                        </a:moveTo>
                        <a:cubicBezTo>
                          <a:pt x="3268" y="8872"/>
                          <a:pt x="6070" y="4669"/>
                          <a:pt x="7938" y="0"/>
                        </a:cubicBezTo>
                        <a:lnTo>
                          <a:pt x="41090" y="9339"/>
                        </a:lnTo>
                        <a:cubicBezTo>
                          <a:pt x="40623" y="9805"/>
                          <a:pt x="40623" y="10272"/>
                          <a:pt x="40156" y="10272"/>
                        </a:cubicBezTo>
                        <a:cubicBezTo>
                          <a:pt x="36887" y="14008"/>
                          <a:pt x="34086" y="18210"/>
                          <a:pt x="31751" y="22413"/>
                        </a:cubicBezTo>
                        <a:lnTo>
                          <a:pt x="0" y="13541"/>
                        </a:lnTo>
                        <a:close/>
                      </a:path>
                    </a:pathLst>
                  </a:custGeom>
                  <a:solidFill>
                    <a:srgbClr val="D1DCE6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444" name="Graphic 2">
                    <a:extLst>
                      <a:ext uri="{FF2B5EF4-FFF2-40B4-BE49-F238E27FC236}">
                        <a16:creationId xmlns:a16="http://schemas.microsoft.com/office/drawing/2014/main" id="{4B9B8C03-F1FB-4C78-B2B4-825CE280453C}"/>
                      </a:ext>
                    </a:extLst>
                  </p:cNvPr>
                  <p:cNvSpPr/>
                  <p:nvPr/>
                </p:nvSpPr>
                <p:spPr>
                  <a:xfrm>
                    <a:off x="2658375" y="2918181"/>
                    <a:ext cx="21011" cy="49961"/>
                  </a:xfrm>
                  <a:custGeom>
                    <a:avLst/>
                    <a:gdLst>
                      <a:gd name="connsiteX0" fmla="*/ 12607 w 21011"/>
                      <a:gd name="connsiteY0" fmla="*/ 4202 h 49961"/>
                      <a:gd name="connsiteX1" fmla="*/ 21012 w 21011"/>
                      <a:gd name="connsiteY1" fmla="*/ 0 h 49961"/>
                      <a:gd name="connsiteX2" fmla="*/ 12607 w 21011"/>
                      <a:gd name="connsiteY2" fmla="*/ 46226 h 49961"/>
                      <a:gd name="connsiteX3" fmla="*/ 4669 w 21011"/>
                      <a:gd name="connsiteY3" fmla="*/ 48093 h 49961"/>
                      <a:gd name="connsiteX4" fmla="*/ 0 w 21011"/>
                      <a:gd name="connsiteY4" fmla="*/ 49961 h 49961"/>
                      <a:gd name="connsiteX5" fmla="*/ 7938 w 21011"/>
                      <a:gd name="connsiteY5" fmla="*/ 5603 h 49961"/>
                      <a:gd name="connsiteX6" fmla="*/ 12607 w 21011"/>
                      <a:gd name="connsiteY6" fmla="*/ 4202 h 499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21011" h="49961">
                        <a:moveTo>
                          <a:pt x="12607" y="4202"/>
                        </a:moveTo>
                        <a:cubicBezTo>
                          <a:pt x="15409" y="3268"/>
                          <a:pt x="18210" y="1868"/>
                          <a:pt x="21012" y="0"/>
                        </a:cubicBezTo>
                        <a:lnTo>
                          <a:pt x="12607" y="46226"/>
                        </a:lnTo>
                        <a:cubicBezTo>
                          <a:pt x="10272" y="46226"/>
                          <a:pt x="7471" y="46693"/>
                          <a:pt x="4669" y="48093"/>
                        </a:cubicBezTo>
                        <a:cubicBezTo>
                          <a:pt x="3268" y="48560"/>
                          <a:pt x="1868" y="49027"/>
                          <a:pt x="0" y="49961"/>
                        </a:cubicBezTo>
                        <a:lnTo>
                          <a:pt x="7938" y="5603"/>
                        </a:lnTo>
                        <a:cubicBezTo>
                          <a:pt x="9805" y="5136"/>
                          <a:pt x="11206" y="4669"/>
                          <a:pt x="12607" y="4202"/>
                        </a:cubicBezTo>
                        <a:close/>
                      </a:path>
                    </a:pathLst>
                  </a:custGeom>
                  <a:solidFill>
                    <a:srgbClr val="D1DCE6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447" name="Graphic 2">
                    <a:extLst>
                      <a:ext uri="{FF2B5EF4-FFF2-40B4-BE49-F238E27FC236}">
                        <a16:creationId xmlns:a16="http://schemas.microsoft.com/office/drawing/2014/main" id="{8375B44A-3ECC-4397-B047-02CFF05E786D}"/>
                      </a:ext>
                    </a:extLst>
                  </p:cNvPr>
                  <p:cNvSpPr/>
                  <p:nvPr/>
                </p:nvSpPr>
                <p:spPr>
                  <a:xfrm>
                    <a:off x="2438919" y="2917247"/>
                    <a:ext cx="40622" cy="25214"/>
                  </a:xfrm>
                  <a:custGeom>
                    <a:avLst/>
                    <a:gdLst>
                      <a:gd name="connsiteX0" fmla="*/ 10272 w 40622"/>
                      <a:gd name="connsiteY0" fmla="*/ 0 h 25214"/>
                      <a:gd name="connsiteX1" fmla="*/ 40623 w 40622"/>
                      <a:gd name="connsiteY1" fmla="*/ 12140 h 25214"/>
                      <a:gd name="connsiteX2" fmla="*/ 40156 w 40622"/>
                      <a:gd name="connsiteY2" fmla="*/ 12607 h 25214"/>
                      <a:gd name="connsiteX3" fmla="*/ 31751 w 40622"/>
                      <a:gd name="connsiteY3" fmla="*/ 25214 h 25214"/>
                      <a:gd name="connsiteX4" fmla="*/ 0 w 40622"/>
                      <a:gd name="connsiteY4" fmla="*/ 12607 h 25214"/>
                      <a:gd name="connsiteX5" fmla="*/ 4669 w 40622"/>
                      <a:gd name="connsiteY5" fmla="*/ 7471 h 25214"/>
                      <a:gd name="connsiteX6" fmla="*/ 10272 w 40622"/>
                      <a:gd name="connsiteY6" fmla="*/ 0 h 252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40622" h="25214">
                        <a:moveTo>
                          <a:pt x="10272" y="0"/>
                        </a:moveTo>
                        <a:lnTo>
                          <a:pt x="40623" y="12140"/>
                        </a:lnTo>
                        <a:cubicBezTo>
                          <a:pt x="40623" y="12140"/>
                          <a:pt x="40156" y="12607"/>
                          <a:pt x="40156" y="12607"/>
                        </a:cubicBezTo>
                        <a:cubicBezTo>
                          <a:pt x="36887" y="16809"/>
                          <a:pt x="34086" y="21012"/>
                          <a:pt x="31751" y="25214"/>
                        </a:cubicBezTo>
                        <a:lnTo>
                          <a:pt x="0" y="12607"/>
                        </a:lnTo>
                        <a:cubicBezTo>
                          <a:pt x="1868" y="11206"/>
                          <a:pt x="3268" y="9339"/>
                          <a:pt x="4669" y="7471"/>
                        </a:cubicBezTo>
                        <a:cubicBezTo>
                          <a:pt x="6537" y="5136"/>
                          <a:pt x="8405" y="2801"/>
                          <a:pt x="10272" y="0"/>
                        </a:cubicBezTo>
                        <a:close/>
                      </a:path>
                    </a:pathLst>
                  </a:custGeom>
                  <a:solidFill>
                    <a:srgbClr val="D1DCE6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448" name="Graphic 2">
                    <a:extLst>
                      <a:ext uri="{FF2B5EF4-FFF2-40B4-BE49-F238E27FC236}">
                        <a16:creationId xmlns:a16="http://schemas.microsoft.com/office/drawing/2014/main" id="{D892EA54-643C-4C91-83C3-8A7EF60987CB}"/>
                      </a:ext>
                    </a:extLst>
                  </p:cNvPr>
                  <p:cNvSpPr/>
                  <p:nvPr/>
                </p:nvSpPr>
                <p:spPr>
                  <a:xfrm>
                    <a:off x="2518763" y="3110088"/>
                    <a:ext cx="28482" cy="39221"/>
                  </a:xfrm>
                  <a:custGeom>
                    <a:avLst/>
                    <a:gdLst>
                      <a:gd name="connsiteX0" fmla="*/ 17276 w 28482"/>
                      <a:gd name="connsiteY0" fmla="*/ 467 h 39221"/>
                      <a:gd name="connsiteX1" fmla="*/ 28483 w 28482"/>
                      <a:gd name="connsiteY1" fmla="*/ 0 h 39221"/>
                      <a:gd name="connsiteX2" fmla="*/ 10739 w 28482"/>
                      <a:gd name="connsiteY2" fmla="*/ 39222 h 39221"/>
                      <a:gd name="connsiteX3" fmla="*/ 0 w 28482"/>
                      <a:gd name="connsiteY3" fmla="*/ 38288 h 39221"/>
                      <a:gd name="connsiteX4" fmla="*/ 17276 w 28482"/>
                      <a:gd name="connsiteY4" fmla="*/ 467 h 392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8482" h="39221">
                        <a:moveTo>
                          <a:pt x="17276" y="467"/>
                        </a:moveTo>
                        <a:cubicBezTo>
                          <a:pt x="20545" y="1401"/>
                          <a:pt x="24747" y="934"/>
                          <a:pt x="28483" y="0"/>
                        </a:cubicBezTo>
                        <a:lnTo>
                          <a:pt x="10739" y="39222"/>
                        </a:lnTo>
                        <a:cubicBezTo>
                          <a:pt x="7471" y="37821"/>
                          <a:pt x="4202" y="37821"/>
                          <a:pt x="0" y="38288"/>
                        </a:cubicBezTo>
                        <a:lnTo>
                          <a:pt x="17276" y="467"/>
                        </a:lnTo>
                        <a:close/>
                      </a:path>
                    </a:pathLst>
                  </a:custGeom>
                  <a:solidFill>
                    <a:srgbClr val="D1DCE6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450" name="Graphic 2">
                    <a:extLst>
                      <a:ext uri="{FF2B5EF4-FFF2-40B4-BE49-F238E27FC236}">
                        <a16:creationId xmlns:a16="http://schemas.microsoft.com/office/drawing/2014/main" id="{B90B5FBE-BE39-4154-A0BD-F7AD357626B5}"/>
                      </a:ext>
                    </a:extLst>
                  </p:cNvPr>
                  <p:cNvSpPr/>
                  <p:nvPr/>
                </p:nvSpPr>
                <p:spPr>
                  <a:xfrm>
                    <a:off x="2500553" y="3054057"/>
                    <a:ext cx="36887" cy="21945"/>
                  </a:xfrm>
                  <a:custGeom>
                    <a:avLst/>
                    <a:gdLst>
                      <a:gd name="connsiteX0" fmla="*/ 0 w 36887"/>
                      <a:gd name="connsiteY0" fmla="*/ 14008 h 21945"/>
                      <a:gd name="connsiteX1" fmla="*/ 7471 w 36887"/>
                      <a:gd name="connsiteY1" fmla="*/ 0 h 21945"/>
                      <a:gd name="connsiteX2" fmla="*/ 36887 w 36887"/>
                      <a:gd name="connsiteY2" fmla="*/ 8405 h 21945"/>
                      <a:gd name="connsiteX3" fmla="*/ 28483 w 36887"/>
                      <a:gd name="connsiteY3" fmla="*/ 21945 h 21945"/>
                      <a:gd name="connsiteX4" fmla="*/ 0 w 36887"/>
                      <a:gd name="connsiteY4" fmla="*/ 14008 h 219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6887" h="21945">
                        <a:moveTo>
                          <a:pt x="0" y="14008"/>
                        </a:moveTo>
                        <a:cubicBezTo>
                          <a:pt x="3269" y="9338"/>
                          <a:pt x="5603" y="4669"/>
                          <a:pt x="7471" y="0"/>
                        </a:cubicBezTo>
                        <a:lnTo>
                          <a:pt x="36887" y="8405"/>
                        </a:lnTo>
                        <a:cubicBezTo>
                          <a:pt x="33152" y="12607"/>
                          <a:pt x="30350" y="17276"/>
                          <a:pt x="28483" y="21945"/>
                        </a:cubicBezTo>
                        <a:lnTo>
                          <a:pt x="0" y="14008"/>
                        </a:lnTo>
                        <a:close/>
                      </a:path>
                    </a:pathLst>
                  </a:custGeom>
                  <a:solidFill>
                    <a:srgbClr val="D1DCE6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452" name="Graphic 2">
                    <a:extLst>
                      <a:ext uri="{FF2B5EF4-FFF2-40B4-BE49-F238E27FC236}">
                        <a16:creationId xmlns:a16="http://schemas.microsoft.com/office/drawing/2014/main" id="{5F661868-003C-4FD5-98B4-755CBA96D304}"/>
                      </a:ext>
                    </a:extLst>
                  </p:cNvPr>
                  <p:cNvSpPr/>
                  <p:nvPr/>
                </p:nvSpPr>
                <p:spPr>
                  <a:xfrm>
                    <a:off x="2584600" y="3015302"/>
                    <a:ext cx="44358" cy="46692"/>
                  </a:xfrm>
                  <a:custGeom>
                    <a:avLst/>
                    <a:gdLst>
                      <a:gd name="connsiteX0" fmla="*/ 0 w 44358"/>
                      <a:gd name="connsiteY0" fmla="*/ 35953 h 46692"/>
                      <a:gd name="connsiteX1" fmla="*/ 41557 w 44358"/>
                      <a:gd name="connsiteY1" fmla="*/ 0 h 46692"/>
                      <a:gd name="connsiteX2" fmla="*/ 44358 w 44358"/>
                      <a:gd name="connsiteY2" fmla="*/ 10272 h 46692"/>
                      <a:gd name="connsiteX3" fmla="*/ 1401 w 44358"/>
                      <a:gd name="connsiteY3" fmla="*/ 46693 h 46692"/>
                      <a:gd name="connsiteX4" fmla="*/ 0 w 44358"/>
                      <a:gd name="connsiteY4" fmla="*/ 35953 h 466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4358" h="46692">
                        <a:moveTo>
                          <a:pt x="0" y="35953"/>
                        </a:moveTo>
                        <a:lnTo>
                          <a:pt x="41557" y="0"/>
                        </a:lnTo>
                        <a:cubicBezTo>
                          <a:pt x="41557" y="4202"/>
                          <a:pt x="42490" y="7471"/>
                          <a:pt x="44358" y="10272"/>
                        </a:cubicBezTo>
                        <a:lnTo>
                          <a:pt x="1401" y="46693"/>
                        </a:lnTo>
                        <a:cubicBezTo>
                          <a:pt x="1868" y="42490"/>
                          <a:pt x="1401" y="38755"/>
                          <a:pt x="0" y="35953"/>
                        </a:cubicBezTo>
                        <a:close/>
                      </a:path>
                    </a:pathLst>
                  </a:custGeom>
                  <a:solidFill>
                    <a:srgbClr val="D1DCE6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454" name="Graphic 2">
                    <a:extLst>
                      <a:ext uri="{FF2B5EF4-FFF2-40B4-BE49-F238E27FC236}">
                        <a16:creationId xmlns:a16="http://schemas.microsoft.com/office/drawing/2014/main" id="{706218B4-1231-4287-9747-F5DE17F4AE85}"/>
                      </a:ext>
                    </a:extLst>
                  </p:cNvPr>
                  <p:cNvSpPr/>
                  <p:nvPr/>
                </p:nvSpPr>
                <p:spPr>
                  <a:xfrm>
                    <a:off x="2526234" y="2885029"/>
                    <a:ext cx="47626" cy="49961"/>
                  </a:xfrm>
                  <a:custGeom>
                    <a:avLst/>
                    <a:gdLst>
                      <a:gd name="connsiteX0" fmla="*/ 0 w 47626"/>
                      <a:gd name="connsiteY0" fmla="*/ 37354 h 49961"/>
                      <a:gd name="connsiteX1" fmla="*/ 43891 w 47626"/>
                      <a:gd name="connsiteY1" fmla="*/ 0 h 49961"/>
                      <a:gd name="connsiteX2" fmla="*/ 47627 w 47626"/>
                      <a:gd name="connsiteY2" fmla="*/ 9339 h 49961"/>
                      <a:gd name="connsiteX3" fmla="*/ 0 w 47626"/>
                      <a:gd name="connsiteY3" fmla="*/ 49961 h 49961"/>
                      <a:gd name="connsiteX4" fmla="*/ 0 w 47626"/>
                      <a:gd name="connsiteY4" fmla="*/ 37354 h 499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7626" h="49961">
                        <a:moveTo>
                          <a:pt x="0" y="37354"/>
                        </a:moveTo>
                        <a:lnTo>
                          <a:pt x="43891" y="0"/>
                        </a:lnTo>
                        <a:cubicBezTo>
                          <a:pt x="44358" y="3736"/>
                          <a:pt x="45759" y="7004"/>
                          <a:pt x="47627" y="9339"/>
                        </a:cubicBezTo>
                        <a:lnTo>
                          <a:pt x="0" y="49961"/>
                        </a:lnTo>
                        <a:cubicBezTo>
                          <a:pt x="934" y="45292"/>
                          <a:pt x="934" y="41090"/>
                          <a:pt x="0" y="37354"/>
                        </a:cubicBezTo>
                        <a:close/>
                      </a:path>
                    </a:pathLst>
                  </a:custGeom>
                  <a:solidFill>
                    <a:srgbClr val="D1DCE6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455" name="Graphic 2">
                    <a:extLst>
                      <a:ext uri="{FF2B5EF4-FFF2-40B4-BE49-F238E27FC236}">
                        <a16:creationId xmlns:a16="http://schemas.microsoft.com/office/drawing/2014/main" id="{CE7FB9D0-B5A3-47D2-81EA-A4E214E9906D}"/>
                      </a:ext>
                    </a:extLst>
                  </p:cNvPr>
                  <p:cNvSpPr/>
                  <p:nvPr/>
                </p:nvSpPr>
                <p:spPr>
                  <a:xfrm>
                    <a:off x="2481876" y="2969076"/>
                    <a:ext cx="22412" cy="57898"/>
                  </a:xfrm>
                  <a:custGeom>
                    <a:avLst/>
                    <a:gdLst>
                      <a:gd name="connsiteX0" fmla="*/ 0 w 22412"/>
                      <a:gd name="connsiteY0" fmla="*/ 57899 h 57898"/>
                      <a:gd name="connsiteX1" fmla="*/ 9339 w 22412"/>
                      <a:gd name="connsiteY1" fmla="*/ 7938 h 57898"/>
                      <a:gd name="connsiteX2" fmla="*/ 22413 w 22412"/>
                      <a:gd name="connsiteY2" fmla="*/ 0 h 57898"/>
                      <a:gd name="connsiteX3" fmla="*/ 12140 w 22412"/>
                      <a:gd name="connsiteY3" fmla="*/ 54630 h 57898"/>
                      <a:gd name="connsiteX4" fmla="*/ 3268 w 22412"/>
                      <a:gd name="connsiteY4" fmla="*/ 56498 h 57898"/>
                      <a:gd name="connsiteX5" fmla="*/ 0 w 22412"/>
                      <a:gd name="connsiteY5" fmla="*/ 57899 h 578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22412" h="57898">
                        <a:moveTo>
                          <a:pt x="0" y="57899"/>
                        </a:moveTo>
                        <a:lnTo>
                          <a:pt x="9339" y="7938"/>
                        </a:lnTo>
                        <a:cubicBezTo>
                          <a:pt x="13541" y="6537"/>
                          <a:pt x="18210" y="3735"/>
                          <a:pt x="22413" y="0"/>
                        </a:cubicBezTo>
                        <a:lnTo>
                          <a:pt x="12140" y="54630"/>
                        </a:lnTo>
                        <a:cubicBezTo>
                          <a:pt x="9339" y="54630"/>
                          <a:pt x="6537" y="55097"/>
                          <a:pt x="3268" y="56498"/>
                        </a:cubicBezTo>
                        <a:cubicBezTo>
                          <a:pt x="2802" y="56965"/>
                          <a:pt x="1401" y="57432"/>
                          <a:pt x="0" y="57899"/>
                        </a:cubicBezTo>
                        <a:close/>
                      </a:path>
                    </a:pathLst>
                  </a:custGeom>
                  <a:solidFill>
                    <a:srgbClr val="D1DCE6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</p:grpSp>
            <p:sp>
              <p:nvSpPr>
                <p:cNvPr id="441" name="Graphic 2">
                  <a:extLst>
                    <a:ext uri="{FF2B5EF4-FFF2-40B4-BE49-F238E27FC236}">
                      <a16:creationId xmlns:a16="http://schemas.microsoft.com/office/drawing/2014/main" id="{07F4E209-8D09-4A4C-81F6-0228B20F8146}"/>
                    </a:ext>
                  </a:extLst>
                </p:cNvPr>
                <p:cNvSpPr/>
                <p:nvPr/>
              </p:nvSpPr>
              <p:spPr>
                <a:xfrm>
                  <a:off x="2409969" y="2524561"/>
                  <a:ext cx="146615" cy="164775"/>
                </a:xfrm>
                <a:custGeom>
                  <a:avLst/>
                  <a:gdLst>
                    <a:gd name="connsiteX0" fmla="*/ 114864 w 146615"/>
                    <a:gd name="connsiteY0" fmla="*/ 161557 h 164775"/>
                    <a:gd name="connsiteX1" fmla="*/ 51362 w 146615"/>
                    <a:gd name="connsiteY1" fmla="*/ 155954 h 164775"/>
                    <a:gd name="connsiteX2" fmla="*/ 1401 w 146615"/>
                    <a:gd name="connsiteY2" fmla="*/ 110195 h 164775"/>
                    <a:gd name="connsiteX3" fmla="*/ 0 w 146615"/>
                    <a:gd name="connsiteY3" fmla="*/ 14475 h 164775"/>
                    <a:gd name="connsiteX4" fmla="*/ 141479 w 146615"/>
                    <a:gd name="connsiteY4" fmla="*/ 0 h 164775"/>
                    <a:gd name="connsiteX5" fmla="*/ 146615 w 146615"/>
                    <a:gd name="connsiteY5" fmla="*/ 118133 h 164775"/>
                    <a:gd name="connsiteX6" fmla="*/ 114864 w 146615"/>
                    <a:gd name="connsiteY6" fmla="*/ 161557 h 164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6615" h="164775">
                      <a:moveTo>
                        <a:pt x="114864" y="161557"/>
                      </a:moveTo>
                      <a:cubicBezTo>
                        <a:pt x="93852" y="168561"/>
                        <a:pt x="71907" y="162958"/>
                        <a:pt x="51362" y="155954"/>
                      </a:cubicBezTo>
                      <a:cubicBezTo>
                        <a:pt x="19611" y="145215"/>
                        <a:pt x="1401" y="110195"/>
                        <a:pt x="1401" y="110195"/>
                      </a:cubicBezTo>
                      <a:lnTo>
                        <a:pt x="0" y="14475"/>
                      </a:lnTo>
                      <a:lnTo>
                        <a:pt x="141479" y="0"/>
                      </a:lnTo>
                      <a:lnTo>
                        <a:pt x="146615" y="118133"/>
                      </a:lnTo>
                      <a:cubicBezTo>
                        <a:pt x="141479" y="137744"/>
                        <a:pt x="134475" y="155487"/>
                        <a:pt x="114864" y="161557"/>
                      </a:cubicBezTo>
                      <a:close/>
                    </a:path>
                  </a:pathLst>
                </a:custGeom>
                <a:solidFill>
                  <a:srgbClr val="E5BD99"/>
                </a:solidFill>
                <a:ln w="4665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ID"/>
                </a:p>
              </p:txBody>
            </p:sp>
          </p:grpSp>
          <p:grpSp>
            <p:nvGrpSpPr>
              <p:cNvPr id="377" name="Graphic 2">
                <a:extLst>
                  <a:ext uri="{FF2B5EF4-FFF2-40B4-BE49-F238E27FC236}">
                    <a16:creationId xmlns:a16="http://schemas.microsoft.com/office/drawing/2014/main" id="{F69CAD49-1F24-47AD-AC5B-21A3741144EE}"/>
                  </a:ext>
                </a:extLst>
              </p:cNvPr>
              <p:cNvGrpSpPr/>
              <p:nvPr/>
            </p:nvGrpSpPr>
            <p:grpSpPr>
              <a:xfrm>
                <a:off x="2538491" y="3461801"/>
                <a:ext cx="847823" cy="519106"/>
                <a:chOff x="2538491" y="3461801"/>
                <a:chExt cx="847823" cy="519106"/>
              </a:xfrm>
            </p:grpSpPr>
            <p:sp>
              <p:nvSpPr>
                <p:cNvPr id="390" name="Graphic 2">
                  <a:extLst>
                    <a:ext uri="{FF2B5EF4-FFF2-40B4-BE49-F238E27FC236}">
                      <a16:creationId xmlns:a16="http://schemas.microsoft.com/office/drawing/2014/main" id="{48769CE5-C6FC-4E7D-B93F-DA8BA11991AB}"/>
                    </a:ext>
                  </a:extLst>
                </p:cNvPr>
                <p:cNvSpPr/>
                <p:nvPr/>
              </p:nvSpPr>
              <p:spPr>
                <a:xfrm>
                  <a:off x="2540168" y="3492502"/>
                  <a:ext cx="846146" cy="488406"/>
                </a:xfrm>
                <a:custGeom>
                  <a:avLst/>
                  <a:gdLst>
                    <a:gd name="connsiteX0" fmla="*/ 8011 w 846146"/>
                    <a:gd name="connsiteY0" fmla="*/ 288094 h 488406"/>
                    <a:gd name="connsiteX1" fmla="*/ 291903 w 846146"/>
                    <a:gd name="connsiteY1" fmla="*/ 452920 h 488406"/>
                    <a:gd name="connsiteX2" fmla="*/ 297039 w 846146"/>
                    <a:gd name="connsiteY2" fmla="*/ 455721 h 488406"/>
                    <a:gd name="connsiteX3" fmla="*/ 297506 w 846146"/>
                    <a:gd name="connsiteY3" fmla="*/ 455721 h 488406"/>
                    <a:gd name="connsiteX4" fmla="*/ 302642 w 846146"/>
                    <a:gd name="connsiteY4" fmla="*/ 457122 h 488406"/>
                    <a:gd name="connsiteX5" fmla="*/ 303576 w 846146"/>
                    <a:gd name="connsiteY5" fmla="*/ 457589 h 488406"/>
                    <a:gd name="connsiteX6" fmla="*/ 309179 w 846146"/>
                    <a:gd name="connsiteY6" fmla="*/ 458523 h 488406"/>
                    <a:gd name="connsiteX7" fmla="*/ 310113 w 846146"/>
                    <a:gd name="connsiteY7" fmla="*/ 458523 h 488406"/>
                    <a:gd name="connsiteX8" fmla="*/ 315716 w 846146"/>
                    <a:gd name="connsiteY8" fmla="*/ 458990 h 488406"/>
                    <a:gd name="connsiteX9" fmla="*/ 316650 w 846146"/>
                    <a:gd name="connsiteY9" fmla="*/ 458990 h 488406"/>
                    <a:gd name="connsiteX10" fmla="*/ 322253 w 846146"/>
                    <a:gd name="connsiteY10" fmla="*/ 458523 h 488406"/>
                    <a:gd name="connsiteX11" fmla="*/ 323187 w 846146"/>
                    <a:gd name="connsiteY11" fmla="*/ 458523 h 488406"/>
                    <a:gd name="connsiteX12" fmla="*/ 327390 w 846146"/>
                    <a:gd name="connsiteY12" fmla="*/ 457589 h 488406"/>
                    <a:gd name="connsiteX13" fmla="*/ 330658 w 846146"/>
                    <a:gd name="connsiteY13" fmla="*/ 456655 h 488406"/>
                    <a:gd name="connsiteX14" fmla="*/ 333927 w 846146"/>
                    <a:gd name="connsiteY14" fmla="*/ 455721 h 488406"/>
                    <a:gd name="connsiteX15" fmla="*/ 335327 w 846146"/>
                    <a:gd name="connsiteY15" fmla="*/ 455254 h 488406"/>
                    <a:gd name="connsiteX16" fmla="*/ 340464 w 846146"/>
                    <a:gd name="connsiteY16" fmla="*/ 452920 h 488406"/>
                    <a:gd name="connsiteX17" fmla="*/ 492682 w 846146"/>
                    <a:gd name="connsiteY17" fmla="*/ 365137 h 488406"/>
                    <a:gd name="connsiteX18" fmla="*/ 451592 w 846146"/>
                    <a:gd name="connsiteY18" fmla="*/ 341324 h 488406"/>
                    <a:gd name="connsiteX19" fmla="*/ 451592 w 846146"/>
                    <a:gd name="connsiteY19" fmla="*/ 330585 h 488406"/>
                    <a:gd name="connsiteX20" fmla="*/ 429180 w 846146"/>
                    <a:gd name="connsiteY20" fmla="*/ 343659 h 488406"/>
                    <a:gd name="connsiteX21" fmla="*/ 423577 w 846146"/>
                    <a:gd name="connsiteY21" fmla="*/ 340390 h 488406"/>
                    <a:gd name="connsiteX22" fmla="*/ 423577 w 846146"/>
                    <a:gd name="connsiteY22" fmla="*/ 346927 h 488406"/>
                    <a:gd name="connsiteX23" fmla="*/ 362409 w 846146"/>
                    <a:gd name="connsiteY23" fmla="*/ 382414 h 488406"/>
                    <a:gd name="connsiteX24" fmla="*/ 357740 w 846146"/>
                    <a:gd name="connsiteY24" fmla="*/ 379612 h 488406"/>
                    <a:gd name="connsiteX25" fmla="*/ 357740 w 846146"/>
                    <a:gd name="connsiteY25" fmla="*/ 385215 h 488406"/>
                    <a:gd name="connsiteX26" fmla="*/ 275094 w 846146"/>
                    <a:gd name="connsiteY26" fmla="*/ 433309 h 488406"/>
                    <a:gd name="connsiteX27" fmla="*/ 237273 w 846146"/>
                    <a:gd name="connsiteY27" fmla="*/ 411363 h 488406"/>
                    <a:gd name="connsiteX28" fmla="*/ 237273 w 846146"/>
                    <a:gd name="connsiteY28" fmla="*/ 401558 h 488406"/>
                    <a:gd name="connsiteX29" fmla="*/ 228401 w 846146"/>
                    <a:gd name="connsiteY29" fmla="*/ 406694 h 488406"/>
                    <a:gd name="connsiteX30" fmla="*/ 190580 w 846146"/>
                    <a:gd name="connsiteY30" fmla="*/ 384748 h 488406"/>
                    <a:gd name="connsiteX31" fmla="*/ 190580 w 846146"/>
                    <a:gd name="connsiteY31" fmla="*/ 374943 h 488406"/>
                    <a:gd name="connsiteX32" fmla="*/ 182175 w 846146"/>
                    <a:gd name="connsiteY32" fmla="*/ 380079 h 488406"/>
                    <a:gd name="connsiteX33" fmla="*/ 144354 w 846146"/>
                    <a:gd name="connsiteY33" fmla="*/ 358133 h 488406"/>
                    <a:gd name="connsiteX34" fmla="*/ 144354 w 846146"/>
                    <a:gd name="connsiteY34" fmla="*/ 348328 h 488406"/>
                    <a:gd name="connsiteX35" fmla="*/ 135949 w 846146"/>
                    <a:gd name="connsiteY35" fmla="*/ 352997 h 488406"/>
                    <a:gd name="connsiteX36" fmla="*/ 98128 w 846146"/>
                    <a:gd name="connsiteY36" fmla="*/ 331052 h 488406"/>
                    <a:gd name="connsiteX37" fmla="*/ 98128 w 846146"/>
                    <a:gd name="connsiteY37" fmla="*/ 321246 h 488406"/>
                    <a:gd name="connsiteX38" fmla="*/ 89723 w 846146"/>
                    <a:gd name="connsiteY38" fmla="*/ 325916 h 488406"/>
                    <a:gd name="connsiteX39" fmla="*/ 51902 w 846146"/>
                    <a:gd name="connsiteY39" fmla="*/ 303970 h 488406"/>
                    <a:gd name="connsiteX40" fmla="*/ 51902 w 846146"/>
                    <a:gd name="connsiteY40" fmla="*/ 275954 h 488406"/>
                    <a:gd name="connsiteX41" fmla="*/ 91124 w 846146"/>
                    <a:gd name="connsiteY41" fmla="*/ 253075 h 488406"/>
                    <a:gd name="connsiteX42" fmla="*/ 128945 w 846146"/>
                    <a:gd name="connsiteY42" fmla="*/ 275020 h 488406"/>
                    <a:gd name="connsiteX43" fmla="*/ 128945 w 846146"/>
                    <a:gd name="connsiteY43" fmla="*/ 284826 h 488406"/>
                    <a:gd name="connsiteX44" fmla="*/ 138284 w 846146"/>
                    <a:gd name="connsiteY44" fmla="*/ 279223 h 488406"/>
                    <a:gd name="connsiteX45" fmla="*/ 116338 w 846146"/>
                    <a:gd name="connsiteY45" fmla="*/ 266616 h 488406"/>
                    <a:gd name="connsiteX46" fmla="*/ 116338 w 846146"/>
                    <a:gd name="connsiteY46" fmla="*/ 238600 h 488406"/>
                    <a:gd name="connsiteX47" fmla="*/ 155560 w 846146"/>
                    <a:gd name="connsiteY47" fmla="*/ 215721 h 488406"/>
                    <a:gd name="connsiteX48" fmla="*/ 163031 w 846146"/>
                    <a:gd name="connsiteY48" fmla="*/ 220390 h 488406"/>
                    <a:gd name="connsiteX49" fmla="*/ 163031 w 846146"/>
                    <a:gd name="connsiteY49" fmla="*/ 211518 h 488406"/>
                    <a:gd name="connsiteX50" fmla="*/ 202253 w 846146"/>
                    <a:gd name="connsiteY50" fmla="*/ 188639 h 488406"/>
                    <a:gd name="connsiteX51" fmla="*/ 209724 w 846146"/>
                    <a:gd name="connsiteY51" fmla="*/ 192841 h 488406"/>
                    <a:gd name="connsiteX52" fmla="*/ 209724 w 846146"/>
                    <a:gd name="connsiteY52" fmla="*/ 184436 h 488406"/>
                    <a:gd name="connsiteX53" fmla="*/ 248946 w 846146"/>
                    <a:gd name="connsiteY53" fmla="*/ 161557 h 488406"/>
                    <a:gd name="connsiteX54" fmla="*/ 256417 w 846146"/>
                    <a:gd name="connsiteY54" fmla="*/ 165759 h 488406"/>
                    <a:gd name="connsiteX55" fmla="*/ 256417 w 846146"/>
                    <a:gd name="connsiteY55" fmla="*/ 157355 h 488406"/>
                    <a:gd name="connsiteX56" fmla="*/ 295639 w 846146"/>
                    <a:gd name="connsiteY56" fmla="*/ 134942 h 488406"/>
                    <a:gd name="connsiteX57" fmla="*/ 303109 w 846146"/>
                    <a:gd name="connsiteY57" fmla="*/ 139144 h 488406"/>
                    <a:gd name="connsiteX58" fmla="*/ 303109 w 846146"/>
                    <a:gd name="connsiteY58" fmla="*/ 130740 h 488406"/>
                    <a:gd name="connsiteX59" fmla="*/ 342331 w 846146"/>
                    <a:gd name="connsiteY59" fmla="*/ 107860 h 488406"/>
                    <a:gd name="connsiteX60" fmla="*/ 349802 w 846146"/>
                    <a:gd name="connsiteY60" fmla="*/ 112063 h 488406"/>
                    <a:gd name="connsiteX61" fmla="*/ 349802 w 846146"/>
                    <a:gd name="connsiteY61" fmla="*/ 103191 h 488406"/>
                    <a:gd name="connsiteX62" fmla="*/ 389024 w 846146"/>
                    <a:gd name="connsiteY62" fmla="*/ 80778 h 488406"/>
                    <a:gd name="connsiteX63" fmla="*/ 396495 w 846146"/>
                    <a:gd name="connsiteY63" fmla="*/ 84981 h 488406"/>
                    <a:gd name="connsiteX64" fmla="*/ 396495 w 846146"/>
                    <a:gd name="connsiteY64" fmla="*/ 76576 h 488406"/>
                    <a:gd name="connsiteX65" fmla="*/ 435717 w 846146"/>
                    <a:gd name="connsiteY65" fmla="*/ 54164 h 488406"/>
                    <a:gd name="connsiteX66" fmla="*/ 443188 w 846146"/>
                    <a:gd name="connsiteY66" fmla="*/ 58366 h 488406"/>
                    <a:gd name="connsiteX67" fmla="*/ 443188 w 846146"/>
                    <a:gd name="connsiteY67" fmla="*/ 49494 h 488406"/>
                    <a:gd name="connsiteX68" fmla="*/ 482410 w 846146"/>
                    <a:gd name="connsiteY68" fmla="*/ 27082 h 488406"/>
                    <a:gd name="connsiteX69" fmla="*/ 489880 w 846146"/>
                    <a:gd name="connsiteY69" fmla="*/ 31284 h 488406"/>
                    <a:gd name="connsiteX70" fmla="*/ 489880 w 846146"/>
                    <a:gd name="connsiteY70" fmla="*/ 22413 h 488406"/>
                    <a:gd name="connsiteX71" fmla="*/ 529102 w 846146"/>
                    <a:gd name="connsiteY71" fmla="*/ 0 h 488406"/>
                    <a:gd name="connsiteX72" fmla="*/ 566923 w 846146"/>
                    <a:gd name="connsiteY72" fmla="*/ 21946 h 488406"/>
                    <a:gd name="connsiteX73" fmla="*/ 566923 w 846146"/>
                    <a:gd name="connsiteY73" fmla="*/ 31751 h 488406"/>
                    <a:gd name="connsiteX74" fmla="*/ 575328 w 846146"/>
                    <a:gd name="connsiteY74" fmla="*/ 26615 h 488406"/>
                    <a:gd name="connsiteX75" fmla="*/ 613149 w 846146"/>
                    <a:gd name="connsiteY75" fmla="*/ 48561 h 488406"/>
                    <a:gd name="connsiteX76" fmla="*/ 613149 w 846146"/>
                    <a:gd name="connsiteY76" fmla="*/ 61167 h 488406"/>
                    <a:gd name="connsiteX77" fmla="*/ 623889 w 846146"/>
                    <a:gd name="connsiteY77" fmla="*/ 55097 h 488406"/>
                    <a:gd name="connsiteX78" fmla="*/ 667780 w 846146"/>
                    <a:gd name="connsiteY78" fmla="*/ 80312 h 488406"/>
                    <a:gd name="connsiteX79" fmla="*/ 692994 w 846146"/>
                    <a:gd name="connsiteY79" fmla="*/ 94786 h 488406"/>
                    <a:gd name="connsiteX80" fmla="*/ 705601 w 846146"/>
                    <a:gd name="connsiteY80" fmla="*/ 102257 h 488406"/>
                    <a:gd name="connsiteX81" fmla="*/ 705601 w 846146"/>
                    <a:gd name="connsiteY81" fmla="*/ 112530 h 488406"/>
                    <a:gd name="connsiteX82" fmla="*/ 714473 w 846146"/>
                    <a:gd name="connsiteY82" fmla="*/ 107393 h 488406"/>
                    <a:gd name="connsiteX83" fmla="*/ 752294 w 846146"/>
                    <a:gd name="connsiteY83" fmla="*/ 129339 h 488406"/>
                    <a:gd name="connsiteX84" fmla="*/ 752294 w 846146"/>
                    <a:gd name="connsiteY84" fmla="*/ 157355 h 488406"/>
                    <a:gd name="connsiteX85" fmla="*/ 671515 w 846146"/>
                    <a:gd name="connsiteY85" fmla="*/ 204047 h 488406"/>
                    <a:gd name="connsiteX86" fmla="*/ 667780 w 846146"/>
                    <a:gd name="connsiteY86" fmla="*/ 201713 h 488406"/>
                    <a:gd name="connsiteX87" fmla="*/ 667780 w 846146"/>
                    <a:gd name="connsiteY87" fmla="*/ 206382 h 488406"/>
                    <a:gd name="connsiteX88" fmla="*/ 608480 w 846146"/>
                    <a:gd name="connsiteY88" fmla="*/ 240935 h 488406"/>
                    <a:gd name="connsiteX89" fmla="*/ 649570 w 846146"/>
                    <a:gd name="connsiteY89" fmla="*/ 264748 h 488406"/>
                    <a:gd name="connsiteX90" fmla="*/ 649570 w 846146"/>
                    <a:gd name="connsiteY90" fmla="*/ 275954 h 488406"/>
                    <a:gd name="connsiteX91" fmla="*/ 835407 w 846146"/>
                    <a:gd name="connsiteY91" fmla="*/ 168561 h 488406"/>
                    <a:gd name="connsiteX92" fmla="*/ 837275 w 846146"/>
                    <a:gd name="connsiteY92" fmla="*/ 167627 h 488406"/>
                    <a:gd name="connsiteX93" fmla="*/ 838208 w 846146"/>
                    <a:gd name="connsiteY93" fmla="*/ 166693 h 488406"/>
                    <a:gd name="connsiteX94" fmla="*/ 839142 w 846146"/>
                    <a:gd name="connsiteY94" fmla="*/ 165759 h 488406"/>
                    <a:gd name="connsiteX95" fmla="*/ 840076 w 846146"/>
                    <a:gd name="connsiteY95" fmla="*/ 164825 h 488406"/>
                    <a:gd name="connsiteX96" fmla="*/ 841010 w 846146"/>
                    <a:gd name="connsiteY96" fmla="*/ 163892 h 488406"/>
                    <a:gd name="connsiteX97" fmla="*/ 842411 w 846146"/>
                    <a:gd name="connsiteY97" fmla="*/ 162491 h 488406"/>
                    <a:gd name="connsiteX98" fmla="*/ 842878 w 846146"/>
                    <a:gd name="connsiteY98" fmla="*/ 161557 h 488406"/>
                    <a:gd name="connsiteX99" fmla="*/ 843812 w 846146"/>
                    <a:gd name="connsiteY99" fmla="*/ 160623 h 488406"/>
                    <a:gd name="connsiteX100" fmla="*/ 844279 w 846146"/>
                    <a:gd name="connsiteY100" fmla="*/ 160156 h 488406"/>
                    <a:gd name="connsiteX101" fmla="*/ 844745 w 846146"/>
                    <a:gd name="connsiteY101" fmla="*/ 159222 h 488406"/>
                    <a:gd name="connsiteX102" fmla="*/ 845212 w 846146"/>
                    <a:gd name="connsiteY102" fmla="*/ 158288 h 488406"/>
                    <a:gd name="connsiteX103" fmla="*/ 845679 w 846146"/>
                    <a:gd name="connsiteY103" fmla="*/ 157355 h 488406"/>
                    <a:gd name="connsiteX104" fmla="*/ 846146 w 846146"/>
                    <a:gd name="connsiteY104" fmla="*/ 156421 h 488406"/>
                    <a:gd name="connsiteX105" fmla="*/ 846146 w 846146"/>
                    <a:gd name="connsiteY105" fmla="*/ 155487 h 488406"/>
                    <a:gd name="connsiteX106" fmla="*/ 846146 w 846146"/>
                    <a:gd name="connsiteY106" fmla="*/ 154553 h 488406"/>
                    <a:gd name="connsiteX107" fmla="*/ 846146 w 846146"/>
                    <a:gd name="connsiteY107" fmla="*/ 177899 h 488406"/>
                    <a:gd name="connsiteX108" fmla="*/ 835407 w 846146"/>
                    <a:gd name="connsiteY108" fmla="*/ 182569 h 488406"/>
                    <a:gd name="connsiteX109" fmla="*/ 798053 w 846146"/>
                    <a:gd name="connsiteY109" fmla="*/ 218989 h 488406"/>
                    <a:gd name="connsiteX110" fmla="*/ 342331 w 846146"/>
                    <a:gd name="connsiteY110" fmla="*/ 482336 h 488406"/>
                    <a:gd name="connsiteX111" fmla="*/ 337662 w 846146"/>
                    <a:gd name="connsiteY111" fmla="*/ 484671 h 488406"/>
                    <a:gd name="connsiteX112" fmla="*/ 336261 w 846146"/>
                    <a:gd name="connsiteY112" fmla="*/ 485138 h 488406"/>
                    <a:gd name="connsiteX113" fmla="*/ 334861 w 846146"/>
                    <a:gd name="connsiteY113" fmla="*/ 485605 h 488406"/>
                    <a:gd name="connsiteX114" fmla="*/ 332993 w 846146"/>
                    <a:gd name="connsiteY114" fmla="*/ 486072 h 488406"/>
                    <a:gd name="connsiteX115" fmla="*/ 330191 w 846146"/>
                    <a:gd name="connsiteY115" fmla="*/ 487006 h 488406"/>
                    <a:gd name="connsiteX116" fmla="*/ 328790 w 846146"/>
                    <a:gd name="connsiteY116" fmla="*/ 487472 h 488406"/>
                    <a:gd name="connsiteX117" fmla="*/ 325522 w 846146"/>
                    <a:gd name="connsiteY117" fmla="*/ 487939 h 488406"/>
                    <a:gd name="connsiteX118" fmla="*/ 324588 w 846146"/>
                    <a:gd name="connsiteY118" fmla="*/ 487939 h 488406"/>
                    <a:gd name="connsiteX119" fmla="*/ 324121 w 846146"/>
                    <a:gd name="connsiteY119" fmla="*/ 487939 h 488406"/>
                    <a:gd name="connsiteX120" fmla="*/ 320386 w 846146"/>
                    <a:gd name="connsiteY120" fmla="*/ 488406 h 488406"/>
                    <a:gd name="connsiteX121" fmla="*/ 318518 w 846146"/>
                    <a:gd name="connsiteY121" fmla="*/ 488406 h 488406"/>
                    <a:gd name="connsiteX122" fmla="*/ 316650 w 846146"/>
                    <a:gd name="connsiteY122" fmla="*/ 488406 h 488406"/>
                    <a:gd name="connsiteX123" fmla="*/ 313382 w 846146"/>
                    <a:gd name="connsiteY123" fmla="*/ 487939 h 488406"/>
                    <a:gd name="connsiteX124" fmla="*/ 311981 w 846146"/>
                    <a:gd name="connsiteY124" fmla="*/ 487939 h 488406"/>
                    <a:gd name="connsiteX125" fmla="*/ 311047 w 846146"/>
                    <a:gd name="connsiteY125" fmla="*/ 487939 h 488406"/>
                    <a:gd name="connsiteX126" fmla="*/ 310113 w 846146"/>
                    <a:gd name="connsiteY126" fmla="*/ 487939 h 488406"/>
                    <a:gd name="connsiteX127" fmla="*/ 306845 w 846146"/>
                    <a:gd name="connsiteY127" fmla="*/ 487472 h 488406"/>
                    <a:gd name="connsiteX128" fmla="*/ 305911 w 846146"/>
                    <a:gd name="connsiteY128" fmla="*/ 487006 h 488406"/>
                    <a:gd name="connsiteX129" fmla="*/ 304977 w 846146"/>
                    <a:gd name="connsiteY129" fmla="*/ 487006 h 488406"/>
                    <a:gd name="connsiteX130" fmla="*/ 303576 w 846146"/>
                    <a:gd name="connsiteY130" fmla="*/ 486539 h 488406"/>
                    <a:gd name="connsiteX131" fmla="*/ 300308 w 846146"/>
                    <a:gd name="connsiteY131" fmla="*/ 485605 h 488406"/>
                    <a:gd name="connsiteX132" fmla="*/ 299841 w 846146"/>
                    <a:gd name="connsiteY132" fmla="*/ 485605 h 488406"/>
                    <a:gd name="connsiteX133" fmla="*/ 299841 w 846146"/>
                    <a:gd name="connsiteY133" fmla="*/ 485605 h 488406"/>
                    <a:gd name="connsiteX134" fmla="*/ 294705 w 846146"/>
                    <a:gd name="connsiteY134" fmla="*/ 483270 h 488406"/>
                    <a:gd name="connsiteX135" fmla="*/ 10813 w 846146"/>
                    <a:gd name="connsiteY135" fmla="*/ 318445 h 488406"/>
                    <a:gd name="connsiteX136" fmla="*/ 1007 w 846146"/>
                    <a:gd name="connsiteY136" fmla="*/ 304437 h 488406"/>
                    <a:gd name="connsiteX137" fmla="*/ 1007 w 846146"/>
                    <a:gd name="connsiteY137" fmla="*/ 276421 h 488406"/>
                    <a:gd name="connsiteX138" fmla="*/ 8011 w 846146"/>
                    <a:gd name="connsiteY138" fmla="*/ 288094 h 4884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</a:cxnLst>
                  <a:rect l="l" t="t" r="r" b="b"/>
                  <a:pathLst>
                    <a:path w="846146" h="488406">
                      <a:moveTo>
                        <a:pt x="8011" y="288094"/>
                      </a:moveTo>
                      <a:lnTo>
                        <a:pt x="291903" y="452920"/>
                      </a:lnTo>
                      <a:cubicBezTo>
                        <a:pt x="293304" y="453854"/>
                        <a:pt x="295172" y="454787"/>
                        <a:pt x="297039" y="455721"/>
                      </a:cubicBezTo>
                      <a:cubicBezTo>
                        <a:pt x="297039" y="455721"/>
                        <a:pt x="297506" y="455721"/>
                        <a:pt x="297506" y="455721"/>
                      </a:cubicBezTo>
                      <a:cubicBezTo>
                        <a:pt x="298907" y="456188"/>
                        <a:pt x="300775" y="456655"/>
                        <a:pt x="302642" y="457122"/>
                      </a:cubicBezTo>
                      <a:lnTo>
                        <a:pt x="303576" y="457589"/>
                      </a:lnTo>
                      <a:cubicBezTo>
                        <a:pt x="305444" y="458056"/>
                        <a:pt x="307312" y="458056"/>
                        <a:pt x="309179" y="458523"/>
                      </a:cubicBezTo>
                      <a:cubicBezTo>
                        <a:pt x="309646" y="458523"/>
                        <a:pt x="309646" y="458523"/>
                        <a:pt x="310113" y="458523"/>
                      </a:cubicBezTo>
                      <a:cubicBezTo>
                        <a:pt x="311981" y="458990"/>
                        <a:pt x="313849" y="458990"/>
                        <a:pt x="315716" y="458990"/>
                      </a:cubicBezTo>
                      <a:cubicBezTo>
                        <a:pt x="316183" y="458990"/>
                        <a:pt x="316183" y="458990"/>
                        <a:pt x="316650" y="458990"/>
                      </a:cubicBezTo>
                      <a:cubicBezTo>
                        <a:pt x="318518" y="458990"/>
                        <a:pt x="320386" y="458990"/>
                        <a:pt x="322253" y="458523"/>
                      </a:cubicBezTo>
                      <a:cubicBezTo>
                        <a:pt x="322720" y="458523"/>
                        <a:pt x="322720" y="458523"/>
                        <a:pt x="323187" y="458523"/>
                      </a:cubicBezTo>
                      <a:cubicBezTo>
                        <a:pt x="324588" y="458523"/>
                        <a:pt x="325989" y="458056"/>
                        <a:pt x="327390" y="457589"/>
                      </a:cubicBezTo>
                      <a:cubicBezTo>
                        <a:pt x="328323" y="457122"/>
                        <a:pt x="329724" y="457122"/>
                        <a:pt x="330658" y="456655"/>
                      </a:cubicBezTo>
                      <a:cubicBezTo>
                        <a:pt x="331592" y="456655"/>
                        <a:pt x="332993" y="456188"/>
                        <a:pt x="333927" y="455721"/>
                      </a:cubicBezTo>
                      <a:cubicBezTo>
                        <a:pt x="334394" y="455721"/>
                        <a:pt x="334861" y="455254"/>
                        <a:pt x="335327" y="455254"/>
                      </a:cubicBezTo>
                      <a:cubicBezTo>
                        <a:pt x="337195" y="454787"/>
                        <a:pt x="338596" y="453854"/>
                        <a:pt x="340464" y="452920"/>
                      </a:cubicBezTo>
                      <a:lnTo>
                        <a:pt x="492682" y="365137"/>
                      </a:lnTo>
                      <a:lnTo>
                        <a:pt x="451592" y="341324"/>
                      </a:lnTo>
                      <a:lnTo>
                        <a:pt x="451592" y="330585"/>
                      </a:lnTo>
                      <a:lnTo>
                        <a:pt x="429180" y="343659"/>
                      </a:lnTo>
                      <a:lnTo>
                        <a:pt x="423577" y="340390"/>
                      </a:lnTo>
                      <a:lnTo>
                        <a:pt x="423577" y="346927"/>
                      </a:lnTo>
                      <a:lnTo>
                        <a:pt x="362409" y="382414"/>
                      </a:lnTo>
                      <a:lnTo>
                        <a:pt x="357740" y="379612"/>
                      </a:lnTo>
                      <a:lnTo>
                        <a:pt x="357740" y="385215"/>
                      </a:lnTo>
                      <a:lnTo>
                        <a:pt x="275094" y="433309"/>
                      </a:lnTo>
                      <a:lnTo>
                        <a:pt x="237273" y="411363"/>
                      </a:lnTo>
                      <a:lnTo>
                        <a:pt x="237273" y="401558"/>
                      </a:lnTo>
                      <a:lnTo>
                        <a:pt x="228401" y="406694"/>
                      </a:lnTo>
                      <a:lnTo>
                        <a:pt x="190580" y="384748"/>
                      </a:lnTo>
                      <a:lnTo>
                        <a:pt x="190580" y="374943"/>
                      </a:lnTo>
                      <a:lnTo>
                        <a:pt x="182175" y="380079"/>
                      </a:lnTo>
                      <a:lnTo>
                        <a:pt x="144354" y="358133"/>
                      </a:lnTo>
                      <a:lnTo>
                        <a:pt x="144354" y="348328"/>
                      </a:lnTo>
                      <a:lnTo>
                        <a:pt x="135949" y="352997"/>
                      </a:lnTo>
                      <a:lnTo>
                        <a:pt x="98128" y="331052"/>
                      </a:lnTo>
                      <a:lnTo>
                        <a:pt x="98128" y="321246"/>
                      </a:lnTo>
                      <a:lnTo>
                        <a:pt x="89723" y="325916"/>
                      </a:lnTo>
                      <a:lnTo>
                        <a:pt x="51902" y="303970"/>
                      </a:lnTo>
                      <a:lnTo>
                        <a:pt x="51902" y="275954"/>
                      </a:lnTo>
                      <a:lnTo>
                        <a:pt x="91124" y="253075"/>
                      </a:lnTo>
                      <a:lnTo>
                        <a:pt x="128945" y="275020"/>
                      </a:lnTo>
                      <a:lnTo>
                        <a:pt x="128945" y="284826"/>
                      </a:lnTo>
                      <a:lnTo>
                        <a:pt x="138284" y="279223"/>
                      </a:lnTo>
                      <a:lnTo>
                        <a:pt x="116338" y="266616"/>
                      </a:lnTo>
                      <a:lnTo>
                        <a:pt x="116338" y="238600"/>
                      </a:lnTo>
                      <a:lnTo>
                        <a:pt x="155560" y="215721"/>
                      </a:lnTo>
                      <a:lnTo>
                        <a:pt x="163031" y="220390"/>
                      </a:lnTo>
                      <a:lnTo>
                        <a:pt x="163031" y="211518"/>
                      </a:lnTo>
                      <a:lnTo>
                        <a:pt x="202253" y="188639"/>
                      </a:lnTo>
                      <a:lnTo>
                        <a:pt x="209724" y="192841"/>
                      </a:lnTo>
                      <a:lnTo>
                        <a:pt x="209724" y="184436"/>
                      </a:lnTo>
                      <a:lnTo>
                        <a:pt x="248946" y="161557"/>
                      </a:lnTo>
                      <a:lnTo>
                        <a:pt x="256417" y="165759"/>
                      </a:lnTo>
                      <a:lnTo>
                        <a:pt x="256417" y="157355"/>
                      </a:lnTo>
                      <a:lnTo>
                        <a:pt x="295639" y="134942"/>
                      </a:lnTo>
                      <a:lnTo>
                        <a:pt x="303109" y="139144"/>
                      </a:lnTo>
                      <a:lnTo>
                        <a:pt x="303109" y="130740"/>
                      </a:lnTo>
                      <a:lnTo>
                        <a:pt x="342331" y="107860"/>
                      </a:lnTo>
                      <a:lnTo>
                        <a:pt x="349802" y="112063"/>
                      </a:lnTo>
                      <a:lnTo>
                        <a:pt x="349802" y="103191"/>
                      </a:lnTo>
                      <a:lnTo>
                        <a:pt x="389024" y="80778"/>
                      </a:lnTo>
                      <a:lnTo>
                        <a:pt x="396495" y="84981"/>
                      </a:lnTo>
                      <a:lnTo>
                        <a:pt x="396495" y="76576"/>
                      </a:lnTo>
                      <a:lnTo>
                        <a:pt x="435717" y="54164"/>
                      </a:lnTo>
                      <a:lnTo>
                        <a:pt x="443188" y="58366"/>
                      </a:lnTo>
                      <a:lnTo>
                        <a:pt x="443188" y="49494"/>
                      </a:lnTo>
                      <a:lnTo>
                        <a:pt x="482410" y="27082"/>
                      </a:lnTo>
                      <a:lnTo>
                        <a:pt x="489880" y="31284"/>
                      </a:lnTo>
                      <a:lnTo>
                        <a:pt x="489880" y="22413"/>
                      </a:lnTo>
                      <a:lnTo>
                        <a:pt x="529102" y="0"/>
                      </a:lnTo>
                      <a:lnTo>
                        <a:pt x="566923" y="21946"/>
                      </a:lnTo>
                      <a:lnTo>
                        <a:pt x="566923" y="31751"/>
                      </a:lnTo>
                      <a:lnTo>
                        <a:pt x="575328" y="26615"/>
                      </a:lnTo>
                      <a:lnTo>
                        <a:pt x="613149" y="48561"/>
                      </a:lnTo>
                      <a:lnTo>
                        <a:pt x="613149" y="61167"/>
                      </a:lnTo>
                      <a:lnTo>
                        <a:pt x="623889" y="55097"/>
                      </a:lnTo>
                      <a:lnTo>
                        <a:pt x="667780" y="80312"/>
                      </a:lnTo>
                      <a:lnTo>
                        <a:pt x="692994" y="94786"/>
                      </a:lnTo>
                      <a:lnTo>
                        <a:pt x="705601" y="102257"/>
                      </a:lnTo>
                      <a:lnTo>
                        <a:pt x="705601" y="112530"/>
                      </a:lnTo>
                      <a:lnTo>
                        <a:pt x="714473" y="107393"/>
                      </a:lnTo>
                      <a:lnTo>
                        <a:pt x="752294" y="129339"/>
                      </a:lnTo>
                      <a:lnTo>
                        <a:pt x="752294" y="157355"/>
                      </a:lnTo>
                      <a:lnTo>
                        <a:pt x="671515" y="204047"/>
                      </a:lnTo>
                      <a:lnTo>
                        <a:pt x="667780" y="201713"/>
                      </a:lnTo>
                      <a:lnTo>
                        <a:pt x="667780" y="206382"/>
                      </a:lnTo>
                      <a:lnTo>
                        <a:pt x="608480" y="240935"/>
                      </a:lnTo>
                      <a:lnTo>
                        <a:pt x="649570" y="264748"/>
                      </a:lnTo>
                      <a:lnTo>
                        <a:pt x="649570" y="275954"/>
                      </a:lnTo>
                      <a:lnTo>
                        <a:pt x="835407" y="168561"/>
                      </a:lnTo>
                      <a:cubicBezTo>
                        <a:pt x="835874" y="168094"/>
                        <a:pt x="836341" y="168094"/>
                        <a:pt x="837275" y="167627"/>
                      </a:cubicBezTo>
                      <a:cubicBezTo>
                        <a:pt x="837741" y="167160"/>
                        <a:pt x="838208" y="167160"/>
                        <a:pt x="838208" y="166693"/>
                      </a:cubicBezTo>
                      <a:cubicBezTo>
                        <a:pt x="838675" y="166226"/>
                        <a:pt x="839142" y="166226"/>
                        <a:pt x="839142" y="165759"/>
                      </a:cubicBezTo>
                      <a:cubicBezTo>
                        <a:pt x="839609" y="165292"/>
                        <a:pt x="839609" y="165292"/>
                        <a:pt x="840076" y="164825"/>
                      </a:cubicBezTo>
                      <a:cubicBezTo>
                        <a:pt x="840543" y="164359"/>
                        <a:pt x="840543" y="164359"/>
                        <a:pt x="841010" y="163892"/>
                      </a:cubicBezTo>
                      <a:cubicBezTo>
                        <a:pt x="841477" y="163425"/>
                        <a:pt x="841944" y="162958"/>
                        <a:pt x="842411" y="162491"/>
                      </a:cubicBezTo>
                      <a:cubicBezTo>
                        <a:pt x="842411" y="162491"/>
                        <a:pt x="842878" y="162024"/>
                        <a:pt x="842878" y="161557"/>
                      </a:cubicBezTo>
                      <a:cubicBezTo>
                        <a:pt x="843345" y="161090"/>
                        <a:pt x="843345" y="160623"/>
                        <a:pt x="843812" y="160623"/>
                      </a:cubicBezTo>
                      <a:cubicBezTo>
                        <a:pt x="844279" y="160623"/>
                        <a:pt x="844279" y="160156"/>
                        <a:pt x="844279" y="160156"/>
                      </a:cubicBezTo>
                      <a:cubicBezTo>
                        <a:pt x="844745" y="159689"/>
                        <a:pt x="844745" y="159222"/>
                        <a:pt x="844745" y="159222"/>
                      </a:cubicBezTo>
                      <a:cubicBezTo>
                        <a:pt x="844745" y="158755"/>
                        <a:pt x="844745" y="158755"/>
                        <a:pt x="845212" y="158288"/>
                      </a:cubicBezTo>
                      <a:cubicBezTo>
                        <a:pt x="845212" y="157822"/>
                        <a:pt x="845679" y="157822"/>
                        <a:pt x="845679" y="157355"/>
                      </a:cubicBezTo>
                      <a:cubicBezTo>
                        <a:pt x="845679" y="156888"/>
                        <a:pt x="845679" y="156888"/>
                        <a:pt x="846146" y="156421"/>
                      </a:cubicBezTo>
                      <a:cubicBezTo>
                        <a:pt x="846146" y="155954"/>
                        <a:pt x="846146" y="155954"/>
                        <a:pt x="846146" y="155487"/>
                      </a:cubicBezTo>
                      <a:cubicBezTo>
                        <a:pt x="846146" y="155020"/>
                        <a:pt x="846146" y="155020"/>
                        <a:pt x="846146" y="154553"/>
                      </a:cubicBezTo>
                      <a:cubicBezTo>
                        <a:pt x="846146" y="162491"/>
                        <a:pt x="846146" y="169962"/>
                        <a:pt x="846146" y="177899"/>
                      </a:cubicBezTo>
                      <a:cubicBezTo>
                        <a:pt x="842411" y="179300"/>
                        <a:pt x="839142" y="180701"/>
                        <a:pt x="835407" y="182569"/>
                      </a:cubicBezTo>
                      <a:cubicBezTo>
                        <a:pt x="819998" y="191440"/>
                        <a:pt x="807858" y="204047"/>
                        <a:pt x="798053" y="218989"/>
                      </a:cubicBezTo>
                      <a:lnTo>
                        <a:pt x="342331" y="482336"/>
                      </a:lnTo>
                      <a:cubicBezTo>
                        <a:pt x="340930" y="483270"/>
                        <a:pt x="339063" y="483737"/>
                        <a:pt x="337662" y="484671"/>
                      </a:cubicBezTo>
                      <a:cubicBezTo>
                        <a:pt x="337195" y="484671"/>
                        <a:pt x="336728" y="485138"/>
                        <a:pt x="336261" y="485138"/>
                      </a:cubicBezTo>
                      <a:cubicBezTo>
                        <a:pt x="335794" y="485605"/>
                        <a:pt x="335327" y="485605"/>
                        <a:pt x="334861" y="485605"/>
                      </a:cubicBezTo>
                      <a:cubicBezTo>
                        <a:pt x="334394" y="485605"/>
                        <a:pt x="333460" y="486072"/>
                        <a:pt x="332993" y="486072"/>
                      </a:cubicBezTo>
                      <a:cubicBezTo>
                        <a:pt x="332059" y="486539"/>
                        <a:pt x="331125" y="486539"/>
                        <a:pt x="330191" y="487006"/>
                      </a:cubicBezTo>
                      <a:cubicBezTo>
                        <a:pt x="329724" y="487006"/>
                        <a:pt x="329257" y="487006"/>
                        <a:pt x="328790" y="487472"/>
                      </a:cubicBezTo>
                      <a:cubicBezTo>
                        <a:pt x="327857" y="487472"/>
                        <a:pt x="326456" y="487939"/>
                        <a:pt x="325522" y="487939"/>
                      </a:cubicBezTo>
                      <a:cubicBezTo>
                        <a:pt x="325055" y="487939"/>
                        <a:pt x="325055" y="487939"/>
                        <a:pt x="324588" y="487939"/>
                      </a:cubicBezTo>
                      <a:cubicBezTo>
                        <a:pt x="324588" y="487939"/>
                        <a:pt x="324588" y="487939"/>
                        <a:pt x="324121" y="487939"/>
                      </a:cubicBezTo>
                      <a:cubicBezTo>
                        <a:pt x="322720" y="487939"/>
                        <a:pt x="321320" y="488406"/>
                        <a:pt x="320386" y="488406"/>
                      </a:cubicBezTo>
                      <a:cubicBezTo>
                        <a:pt x="319919" y="488406"/>
                        <a:pt x="319452" y="488406"/>
                        <a:pt x="318518" y="488406"/>
                      </a:cubicBezTo>
                      <a:lnTo>
                        <a:pt x="316650" y="488406"/>
                      </a:lnTo>
                      <a:cubicBezTo>
                        <a:pt x="315716" y="488406"/>
                        <a:pt x="314316" y="488406"/>
                        <a:pt x="313382" y="487939"/>
                      </a:cubicBezTo>
                      <a:cubicBezTo>
                        <a:pt x="312915" y="487939"/>
                        <a:pt x="312448" y="487939"/>
                        <a:pt x="311981" y="487939"/>
                      </a:cubicBezTo>
                      <a:cubicBezTo>
                        <a:pt x="311514" y="487939"/>
                        <a:pt x="311514" y="487939"/>
                        <a:pt x="311047" y="487939"/>
                      </a:cubicBezTo>
                      <a:cubicBezTo>
                        <a:pt x="310580" y="487939"/>
                        <a:pt x="310580" y="487939"/>
                        <a:pt x="310113" y="487939"/>
                      </a:cubicBezTo>
                      <a:cubicBezTo>
                        <a:pt x="308713" y="487939"/>
                        <a:pt x="307779" y="487472"/>
                        <a:pt x="306845" y="487472"/>
                      </a:cubicBezTo>
                      <a:lnTo>
                        <a:pt x="305911" y="487006"/>
                      </a:lnTo>
                      <a:cubicBezTo>
                        <a:pt x="305444" y="487006"/>
                        <a:pt x="304977" y="487006"/>
                        <a:pt x="304977" y="487006"/>
                      </a:cubicBezTo>
                      <a:cubicBezTo>
                        <a:pt x="304510" y="487006"/>
                        <a:pt x="304043" y="486539"/>
                        <a:pt x="303576" y="486539"/>
                      </a:cubicBezTo>
                      <a:cubicBezTo>
                        <a:pt x="302642" y="486072"/>
                        <a:pt x="301242" y="485605"/>
                        <a:pt x="300308" y="485605"/>
                      </a:cubicBezTo>
                      <a:cubicBezTo>
                        <a:pt x="300308" y="485605"/>
                        <a:pt x="299841" y="485605"/>
                        <a:pt x="299841" y="485605"/>
                      </a:cubicBezTo>
                      <a:cubicBezTo>
                        <a:pt x="299841" y="485605"/>
                        <a:pt x="299841" y="485605"/>
                        <a:pt x="299841" y="485605"/>
                      </a:cubicBezTo>
                      <a:cubicBezTo>
                        <a:pt x="297973" y="485138"/>
                        <a:pt x="296105" y="484204"/>
                        <a:pt x="294705" y="483270"/>
                      </a:cubicBezTo>
                      <a:lnTo>
                        <a:pt x="10813" y="318445"/>
                      </a:lnTo>
                      <a:cubicBezTo>
                        <a:pt x="4276" y="314709"/>
                        <a:pt x="1007" y="309573"/>
                        <a:pt x="1007" y="304437"/>
                      </a:cubicBezTo>
                      <a:cubicBezTo>
                        <a:pt x="1007" y="295098"/>
                        <a:pt x="1007" y="285760"/>
                        <a:pt x="1007" y="276421"/>
                      </a:cubicBezTo>
                      <a:cubicBezTo>
                        <a:pt x="-1794" y="279223"/>
                        <a:pt x="1474" y="284359"/>
                        <a:pt x="8011" y="288094"/>
                      </a:cubicBezTo>
                      <a:close/>
                    </a:path>
                  </a:pathLst>
                </a:custGeom>
                <a:solidFill>
                  <a:srgbClr val="D1DCE6"/>
                </a:solidFill>
                <a:ln w="4665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ID"/>
                </a:p>
              </p:txBody>
            </p:sp>
            <p:grpSp>
              <p:nvGrpSpPr>
                <p:cNvPr id="391" name="Graphic 2">
                  <a:extLst>
                    <a:ext uri="{FF2B5EF4-FFF2-40B4-BE49-F238E27FC236}">
                      <a16:creationId xmlns:a16="http://schemas.microsoft.com/office/drawing/2014/main" id="{DA9A56FF-A0C2-4821-9A37-7CEB5912E2CF}"/>
                    </a:ext>
                  </a:extLst>
                </p:cNvPr>
                <p:cNvGrpSpPr/>
                <p:nvPr/>
              </p:nvGrpSpPr>
              <p:grpSpPr>
                <a:xfrm>
                  <a:off x="2538491" y="3461801"/>
                  <a:ext cx="845664" cy="489573"/>
                  <a:chOff x="2538491" y="3461801"/>
                  <a:chExt cx="845664" cy="489573"/>
                </a:xfrm>
              </p:grpSpPr>
              <p:sp>
                <p:nvSpPr>
                  <p:cNvPr id="392" name="Graphic 2">
                    <a:extLst>
                      <a:ext uri="{FF2B5EF4-FFF2-40B4-BE49-F238E27FC236}">
                        <a16:creationId xmlns:a16="http://schemas.microsoft.com/office/drawing/2014/main" id="{432285C3-A435-49D1-9440-868C2EDD66FE}"/>
                      </a:ext>
                    </a:extLst>
                  </p:cNvPr>
                  <p:cNvSpPr/>
                  <p:nvPr/>
                </p:nvSpPr>
                <p:spPr>
                  <a:xfrm>
                    <a:off x="2538491" y="3461801"/>
                    <a:ext cx="845664" cy="489573"/>
                  </a:xfrm>
                  <a:custGeom>
                    <a:avLst/>
                    <a:gdLst>
                      <a:gd name="connsiteX0" fmla="*/ 835684 w 845664"/>
                      <a:gd name="connsiteY0" fmla="*/ 170779 h 489573"/>
                      <a:gd name="connsiteX1" fmla="*/ 551792 w 845664"/>
                      <a:gd name="connsiteY1" fmla="*/ 5953 h 489573"/>
                      <a:gd name="connsiteX2" fmla="*/ 503231 w 845664"/>
                      <a:gd name="connsiteY2" fmla="*/ 5953 h 489573"/>
                      <a:gd name="connsiteX3" fmla="*/ 10156 w 845664"/>
                      <a:gd name="connsiteY3" fmla="*/ 290779 h 489573"/>
                      <a:gd name="connsiteX4" fmla="*/ 10156 w 845664"/>
                      <a:gd name="connsiteY4" fmla="*/ 318795 h 489573"/>
                      <a:gd name="connsiteX5" fmla="*/ 294048 w 845664"/>
                      <a:gd name="connsiteY5" fmla="*/ 483620 h 489573"/>
                      <a:gd name="connsiteX6" fmla="*/ 342608 w 845664"/>
                      <a:gd name="connsiteY6" fmla="*/ 483620 h 489573"/>
                      <a:gd name="connsiteX7" fmla="*/ 835684 w 845664"/>
                      <a:gd name="connsiteY7" fmla="*/ 198794 h 489573"/>
                      <a:gd name="connsiteX8" fmla="*/ 835684 w 845664"/>
                      <a:gd name="connsiteY8" fmla="*/ 170779 h 489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845664" h="489573">
                        <a:moveTo>
                          <a:pt x="835684" y="170779"/>
                        </a:moveTo>
                        <a:lnTo>
                          <a:pt x="551792" y="5953"/>
                        </a:lnTo>
                        <a:cubicBezTo>
                          <a:pt x="538251" y="-1984"/>
                          <a:pt x="516772" y="-1984"/>
                          <a:pt x="503231" y="5953"/>
                        </a:cubicBezTo>
                        <a:lnTo>
                          <a:pt x="10156" y="290779"/>
                        </a:lnTo>
                        <a:cubicBezTo>
                          <a:pt x="-3385" y="298717"/>
                          <a:pt x="-3385" y="311324"/>
                          <a:pt x="10156" y="318795"/>
                        </a:cubicBezTo>
                        <a:lnTo>
                          <a:pt x="294048" y="483620"/>
                        </a:lnTo>
                        <a:cubicBezTo>
                          <a:pt x="307589" y="491558"/>
                          <a:pt x="329067" y="491558"/>
                          <a:pt x="342608" y="483620"/>
                        </a:cubicBezTo>
                        <a:lnTo>
                          <a:pt x="835684" y="198794"/>
                        </a:lnTo>
                        <a:cubicBezTo>
                          <a:pt x="848758" y="191324"/>
                          <a:pt x="849225" y="178250"/>
                          <a:pt x="835684" y="170779"/>
                        </a:cubicBezTo>
                        <a:close/>
                      </a:path>
                    </a:pathLst>
                  </a:custGeom>
                  <a:solidFill>
                    <a:srgbClr val="E8ECEF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393" name="Graphic 2">
                    <a:extLst>
                      <a:ext uri="{FF2B5EF4-FFF2-40B4-BE49-F238E27FC236}">
                        <a16:creationId xmlns:a16="http://schemas.microsoft.com/office/drawing/2014/main" id="{530D71F8-5652-497B-A7C7-AAA03AF32F2F}"/>
                      </a:ext>
                    </a:extLst>
                  </p:cNvPr>
                  <p:cNvSpPr/>
                  <p:nvPr/>
                </p:nvSpPr>
                <p:spPr>
                  <a:xfrm>
                    <a:off x="3069271" y="3593358"/>
                    <a:ext cx="77042" cy="44825"/>
                  </a:xfrm>
                  <a:custGeom>
                    <a:avLst/>
                    <a:gdLst>
                      <a:gd name="connsiteX0" fmla="*/ 39222 w 77042"/>
                      <a:gd name="connsiteY0" fmla="*/ 0 h 44825"/>
                      <a:gd name="connsiteX1" fmla="*/ 77043 w 77042"/>
                      <a:gd name="connsiteY1" fmla="*/ 21946 h 44825"/>
                      <a:gd name="connsiteX2" fmla="*/ 37821 w 77042"/>
                      <a:gd name="connsiteY2" fmla="*/ 44825 h 44825"/>
                      <a:gd name="connsiteX3" fmla="*/ 0 w 77042"/>
                      <a:gd name="connsiteY3" fmla="*/ 22879 h 448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7042" h="44825">
                        <a:moveTo>
                          <a:pt x="39222" y="0"/>
                        </a:moveTo>
                        <a:lnTo>
                          <a:pt x="77043" y="21946"/>
                        </a:lnTo>
                        <a:lnTo>
                          <a:pt x="37821" y="44825"/>
                        </a:lnTo>
                        <a:lnTo>
                          <a:pt x="0" y="22879"/>
                        </a:lnTo>
                        <a:close/>
                      </a:path>
                    </a:pathLst>
                  </a:custGeom>
                  <a:solidFill>
                    <a:srgbClr val="0C2F4B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394" name="Graphic 2">
                    <a:extLst>
                      <a:ext uri="{FF2B5EF4-FFF2-40B4-BE49-F238E27FC236}">
                        <a16:creationId xmlns:a16="http://schemas.microsoft.com/office/drawing/2014/main" id="{6E7A1524-424F-48C5-987F-C6F05664B23B}"/>
                      </a:ext>
                    </a:extLst>
                  </p:cNvPr>
                  <p:cNvSpPr/>
                  <p:nvPr/>
                </p:nvSpPr>
                <p:spPr>
                  <a:xfrm>
                    <a:off x="3129504" y="3612035"/>
                    <a:ext cx="77043" cy="44358"/>
                  </a:xfrm>
                  <a:custGeom>
                    <a:avLst/>
                    <a:gdLst>
                      <a:gd name="connsiteX0" fmla="*/ 39222 w 77043"/>
                      <a:gd name="connsiteY0" fmla="*/ 0 h 44358"/>
                      <a:gd name="connsiteX1" fmla="*/ 77043 w 77043"/>
                      <a:gd name="connsiteY1" fmla="*/ 21946 h 44358"/>
                      <a:gd name="connsiteX2" fmla="*/ 37821 w 77043"/>
                      <a:gd name="connsiteY2" fmla="*/ 44358 h 44358"/>
                      <a:gd name="connsiteX3" fmla="*/ 0 w 77043"/>
                      <a:gd name="connsiteY3" fmla="*/ 22880 h 443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7043" h="44358">
                        <a:moveTo>
                          <a:pt x="39222" y="0"/>
                        </a:moveTo>
                        <a:lnTo>
                          <a:pt x="77043" y="21946"/>
                        </a:lnTo>
                        <a:lnTo>
                          <a:pt x="37821" y="44358"/>
                        </a:lnTo>
                        <a:lnTo>
                          <a:pt x="0" y="22880"/>
                        </a:lnTo>
                        <a:close/>
                      </a:path>
                    </a:pathLst>
                  </a:custGeom>
                  <a:solidFill>
                    <a:srgbClr val="0C2F4B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395" name="Graphic 2">
                    <a:extLst>
                      <a:ext uri="{FF2B5EF4-FFF2-40B4-BE49-F238E27FC236}">
                        <a16:creationId xmlns:a16="http://schemas.microsoft.com/office/drawing/2014/main" id="{B7650A5D-8CB9-4AD8-A17A-4842C68E3064}"/>
                      </a:ext>
                    </a:extLst>
                  </p:cNvPr>
                  <p:cNvSpPr/>
                  <p:nvPr/>
                </p:nvSpPr>
                <p:spPr>
                  <a:xfrm>
                    <a:off x="3177598" y="3583553"/>
                    <a:ext cx="127004" cy="85447"/>
                  </a:xfrm>
                  <a:custGeom>
                    <a:avLst/>
                    <a:gdLst>
                      <a:gd name="connsiteX0" fmla="*/ 45759 w 127004"/>
                      <a:gd name="connsiteY0" fmla="*/ 0 h 85447"/>
                      <a:gd name="connsiteX1" fmla="*/ 89183 w 127004"/>
                      <a:gd name="connsiteY1" fmla="*/ 25214 h 85447"/>
                      <a:gd name="connsiteX2" fmla="*/ 114397 w 127004"/>
                      <a:gd name="connsiteY2" fmla="*/ 39689 h 85447"/>
                      <a:gd name="connsiteX3" fmla="*/ 127004 w 127004"/>
                      <a:gd name="connsiteY3" fmla="*/ 47160 h 85447"/>
                      <a:gd name="connsiteX4" fmla="*/ 61167 w 127004"/>
                      <a:gd name="connsiteY4" fmla="*/ 85448 h 85447"/>
                      <a:gd name="connsiteX5" fmla="*/ 23346 w 127004"/>
                      <a:gd name="connsiteY5" fmla="*/ 63502 h 85447"/>
                      <a:gd name="connsiteX6" fmla="*/ 43424 w 127004"/>
                      <a:gd name="connsiteY6" fmla="*/ 51829 h 85447"/>
                      <a:gd name="connsiteX7" fmla="*/ 0 w 127004"/>
                      <a:gd name="connsiteY7" fmla="*/ 26148 h 854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27004" h="85447">
                        <a:moveTo>
                          <a:pt x="45759" y="0"/>
                        </a:moveTo>
                        <a:lnTo>
                          <a:pt x="89183" y="25214"/>
                        </a:lnTo>
                        <a:lnTo>
                          <a:pt x="114397" y="39689"/>
                        </a:lnTo>
                        <a:lnTo>
                          <a:pt x="127004" y="47160"/>
                        </a:lnTo>
                        <a:lnTo>
                          <a:pt x="61167" y="85448"/>
                        </a:lnTo>
                        <a:lnTo>
                          <a:pt x="23346" y="63502"/>
                        </a:lnTo>
                        <a:lnTo>
                          <a:pt x="43424" y="51829"/>
                        </a:lnTo>
                        <a:lnTo>
                          <a:pt x="0" y="26148"/>
                        </a:lnTo>
                        <a:close/>
                      </a:path>
                    </a:pathLst>
                  </a:custGeom>
                  <a:solidFill>
                    <a:srgbClr val="0C2F4B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396" name="Graphic 2">
                    <a:extLst>
                      <a:ext uri="{FF2B5EF4-FFF2-40B4-BE49-F238E27FC236}">
                        <a16:creationId xmlns:a16="http://schemas.microsoft.com/office/drawing/2014/main" id="{77B97248-2894-4D9E-B475-3FE0D8BBF9C0}"/>
                      </a:ext>
                    </a:extLst>
                  </p:cNvPr>
                  <p:cNvSpPr/>
                  <p:nvPr/>
                </p:nvSpPr>
                <p:spPr>
                  <a:xfrm>
                    <a:off x="3085613" y="3637716"/>
                    <a:ext cx="77043" cy="44357"/>
                  </a:xfrm>
                  <a:custGeom>
                    <a:avLst/>
                    <a:gdLst>
                      <a:gd name="connsiteX0" fmla="*/ 39222 w 77043"/>
                      <a:gd name="connsiteY0" fmla="*/ 0 h 44357"/>
                      <a:gd name="connsiteX1" fmla="*/ 77043 w 77043"/>
                      <a:gd name="connsiteY1" fmla="*/ 21945 h 44357"/>
                      <a:gd name="connsiteX2" fmla="*/ 37821 w 77043"/>
                      <a:gd name="connsiteY2" fmla="*/ 44358 h 44357"/>
                      <a:gd name="connsiteX3" fmla="*/ 0 w 77043"/>
                      <a:gd name="connsiteY3" fmla="*/ 22413 h 443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7043" h="44357">
                        <a:moveTo>
                          <a:pt x="39222" y="0"/>
                        </a:moveTo>
                        <a:lnTo>
                          <a:pt x="77043" y="21945"/>
                        </a:lnTo>
                        <a:lnTo>
                          <a:pt x="37821" y="44358"/>
                        </a:lnTo>
                        <a:lnTo>
                          <a:pt x="0" y="22413"/>
                        </a:lnTo>
                        <a:close/>
                      </a:path>
                    </a:pathLst>
                  </a:custGeom>
                  <a:solidFill>
                    <a:srgbClr val="0C2F4B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397" name="Graphic 2">
                    <a:extLst>
                      <a:ext uri="{FF2B5EF4-FFF2-40B4-BE49-F238E27FC236}">
                        <a16:creationId xmlns:a16="http://schemas.microsoft.com/office/drawing/2014/main" id="{8711F3B1-DFBF-40EA-A0C0-1BFCC59F2F82}"/>
                      </a:ext>
                    </a:extLst>
                  </p:cNvPr>
                  <p:cNvSpPr/>
                  <p:nvPr/>
                </p:nvSpPr>
                <p:spPr>
                  <a:xfrm>
                    <a:off x="3232695" y="3635381"/>
                    <a:ext cx="118132" cy="68638"/>
                  </a:xfrm>
                  <a:custGeom>
                    <a:avLst/>
                    <a:gdLst>
                      <a:gd name="connsiteX0" fmla="*/ 80778 w 118132"/>
                      <a:gd name="connsiteY0" fmla="*/ 0 h 68638"/>
                      <a:gd name="connsiteX1" fmla="*/ 118133 w 118132"/>
                      <a:gd name="connsiteY1" fmla="*/ 21946 h 68638"/>
                      <a:gd name="connsiteX2" fmla="*/ 37821 w 118132"/>
                      <a:gd name="connsiteY2" fmla="*/ 68638 h 68638"/>
                      <a:gd name="connsiteX3" fmla="*/ 0 w 118132"/>
                      <a:gd name="connsiteY3" fmla="*/ 47160 h 686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18132" h="68638">
                        <a:moveTo>
                          <a:pt x="80778" y="0"/>
                        </a:moveTo>
                        <a:lnTo>
                          <a:pt x="118133" y="21946"/>
                        </a:lnTo>
                        <a:lnTo>
                          <a:pt x="37821" y="68638"/>
                        </a:lnTo>
                        <a:lnTo>
                          <a:pt x="0" y="47160"/>
                        </a:lnTo>
                        <a:close/>
                      </a:path>
                    </a:pathLst>
                  </a:custGeom>
                  <a:solidFill>
                    <a:srgbClr val="0C2F4B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398" name="Graphic 2">
                    <a:extLst>
                      <a:ext uri="{FF2B5EF4-FFF2-40B4-BE49-F238E27FC236}">
                        <a16:creationId xmlns:a16="http://schemas.microsoft.com/office/drawing/2014/main" id="{A57E7A8C-7EDF-49B1-BF37-A774B32C8611}"/>
                      </a:ext>
                    </a:extLst>
                  </p:cNvPr>
                  <p:cNvSpPr/>
                  <p:nvPr/>
                </p:nvSpPr>
                <p:spPr>
                  <a:xfrm>
                    <a:off x="3167792" y="3684409"/>
                    <a:ext cx="98988" cy="57432"/>
                  </a:xfrm>
                  <a:custGeom>
                    <a:avLst/>
                    <a:gdLst>
                      <a:gd name="connsiteX0" fmla="*/ 61168 w 98988"/>
                      <a:gd name="connsiteY0" fmla="*/ 0 h 57432"/>
                      <a:gd name="connsiteX1" fmla="*/ 98989 w 98988"/>
                      <a:gd name="connsiteY1" fmla="*/ 21945 h 57432"/>
                      <a:gd name="connsiteX2" fmla="*/ 37821 w 98988"/>
                      <a:gd name="connsiteY2" fmla="*/ 57432 h 57432"/>
                      <a:gd name="connsiteX3" fmla="*/ 0 w 98988"/>
                      <a:gd name="connsiteY3" fmla="*/ 35486 h 574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98988" h="57432">
                        <a:moveTo>
                          <a:pt x="61168" y="0"/>
                        </a:moveTo>
                        <a:lnTo>
                          <a:pt x="98989" y="21945"/>
                        </a:lnTo>
                        <a:lnTo>
                          <a:pt x="37821" y="57432"/>
                        </a:lnTo>
                        <a:lnTo>
                          <a:pt x="0" y="35486"/>
                        </a:lnTo>
                        <a:close/>
                      </a:path>
                    </a:pathLst>
                  </a:custGeom>
                  <a:solidFill>
                    <a:srgbClr val="0C2F4B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399" name="Graphic 2">
                    <a:extLst>
                      <a:ext uri="{FF2B5EF4-FFF2-40B4-BE49-F238E27FC236}">
                        <a16:creationId xmlns:a16="http://schemas.microsoft.com/office/drawing/2014/main" id="{C6DF92AE-1338-41D7-8E32-AD7A08A1886A}"/>
                      </a:ext>
                    </a:extLst>
                  </p:cNvPr>
                  <p:cNvSpPr/>
                  <p:nvPr/>
                </p:nvSpPr>
                <p:spPr>
                  <a:xfrm>
                    <a:off x="3069271" y="3700751"/>
                    <a:ext cx="76576" cy="44358"/>
                  </a:xfrm>
                  <a:custGeom>
                    <a:avLst/>
                    <a:gdLst>
                      <a:gd name="connsiteX0" fmla="*/ 39222 w 76576"/>
                      <a:gd name="connsiteY0" fmla="*/ 0 h 44358"/>
                      <a:gd name="connsiteX1" fmla="*/ 76576 w 76576"/>
                      <a:gd name="connsiteY1" fmla="*/ 21946 h 44358"/>
                      <a:gd name="connsiteX2" fmla="*/ 37821 w 76576"/>
                      <a:gd name="connsiteY2" fmla="*/ 44358 h 44358"/>
                      <a:gd name="connsiteX3" fmla="*/ 0 w 76576"/>
                      <a:gd name="connsiteY3" fmla="*/ 22413 h 443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6576" h="44358">
                        <a:moveTo>
                          <a:pt x="39222" y="0"/>
                        </a:moveTo>
                        <a:lnTo>
                          <a:pt x="76576" y="21946"/>
                        </a:lnTo>
                        <a:lnTo>
                          <a:pt x="37821" y="44358"/>
                        </a:lnTo>
                        <a:lnTo>
                          <a:pt x="0" y="22413"/>
                        </a:lnTo>
                        <a:close/>
                      </a:path>
                    </a:pathLst>
                  </a:custGeom>
                  <a:solidFill>
                    <a:srgbClr val="0C2F4B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400" name="Graphic 2">
                    <a:extLst>
                      <a:ext uri="{FF2B5EF4-FFF2-40B4-BE49-F238E27FC236}">
                        <a16:creationId xmlns:a16="http://schemas.microsoft.com/office/drawing/2014/main" id="{FE862463-D46E-40DD-A067-D712CC9A1234}"/>
                      </a:ext>
                    </a:extLst>
                  </p:cNvPr>
                  <p:cNvSpPr/>
                  <p:nvPr/>
                </p:nvSpPr>
                <p:spPr>
                  <a:xfrm>
                    <a:off x="3089349" y="3528455"/>
                    <a:ext cx="76576" cy="44825"/>
                  </a:xfrm>
                  <a:custGeom>
                    <a:avLst/>
                    <a:gdLst>
                      <a:gd name="connsiteX0" fmla="*/ 38755 w 76576"/>
                      <a:gd name="connsiteY0" fmla="*/ 0 h 44825"/>
                      <a:gd name="connsiteX1" fmla="*/ 76576 w 76576"/>
                      <a:gd name="connsiteY1" fmla="*/ 21945 h 44825"/>
                      <a:gd name="connsiteX2" fmla="*/ 37821 w 76576"/>
                      <a:gd name="connsiteY2" fmla="*/ 44825 h 44825"/>
                      <a:gd name="connsiteX3" fmla="*/ 0 w 76576"/>
                      <a:gd name="connsiteY3" fmla="*/ 22879 h 448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6576" h="44825">
                        <a:moveTo>
                          <a:pt x="38755" y="0"/>
                        </a:moveTo>
                        <a:lnTo>
                          <a:pt x="76576" y="21945"/>
                        </a:lnTo>
                        <a:lnTo>
                          <a:pt x="37821" y="44825"/>
                        </a:lnTo>
                        <a:lnTo>
                          <a:pt x="0" y="22879"/>
                        </a:lnTo>
                        <a:close/>
                      </a:path>
                    </a:pathLst>
                  </a:custGeom>
                  <a:solidFill>
                    <a:srgbClr val="0C2F4B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401" name="Graphic 2">
                    <a:extLst>
                      <a:ext uri="{FF2B5EF4-FFF2-40B4-BE49-F238E27FC236}">
                        <a16:creationId xmlns:a16="http://schemas.microsoft.com/office/drawing/2014/main" id="{5935839D-CA6A-4B92-BC81-EB3A80261B57}"/>
                      </a:ext>
                    </a:extLst>
                  </p:cNvPr>
                  <p:cNvSpPr/>
                  <p:nvPr/>
                </p:nvSpPr>
                <p:spPr>
                  <a:xfrm>
                    <a:off x="3042656" y="3555537"/>
                    <a:ext cx="77042" cy="44825"/>
                  </a:xfrm>
                  <a:custGeom>
                    <a:avLst/>
                    <a:gdLst>
                      <a:gd name="connsiteX0" fmla="*/ 39222 w 77042"/>
                      <a:gd name="connsiteY0" fmla="*/ 0 h 44825"/>
                      <a:gd name="connsiteX1" fmla="*/ 77043 w 77042"/>
                      <a:gd name="connsiteY1" fmla="*/ 21946 h 44825"/>
                      <a:gd name="connsiteX2" fmla="*/ 37821 w 77042"/>
                      <a:gd name="connsiteY2" fmla="*/ 44825 h 44825"/>
                      <a:gd name="connsiteX3" fmla="*/ 0 w 77042"/>
                      <a:gd name="connsiteY3" fmla="*/ 22880 h 448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7042" h="44825">
                        <a:moveTo>
                          <a:pt x="39222" y="0"/>
                        </a:moveTo>
                        <a:lnTo>
                          <a:pt x="77043" y="21946"/>
                        </a:lnTo>
                        <a:lnTo>
                          <a:pt x="37821" y="44825"/>
                        </a:lnTo>
                        <a:lnTo>
                          <a:pt x="0" y="22880"/>
                        </a:lnTo>
                        <a:close/>
                      </a:path>
                    </a:pathLst>
                  </a:custGeom>
                  <a:solidFill>
                    <a:srgbClr val="0C2F4B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402" name="Graphic 2">
                    <a:extLst>
                      <a:ext uri="{FF2B5EF4-FFF2-40B4-BE49-F238E27FC236}">
                        <a16:creationId xmlns:a16="http://schemas.microsoft.com/office/drawing/2014/main" id="{DA840EBB-FA64-4037-81C8-E8D45B702A43}"/>
                      </a:ext>
                    </a:extLst>
                  </p:cNvPr>
                  <p:cNvSpPr/>
                  <p:nvPr/>
                </p:nvSpPr>
                <p:spPr>
                  <a:xfrm>
                    <a:off x="3113629" y="3555070"/>
                    <a:ext cx="98521" cy="56965"/>
                  </a:xfrm>
                  <a:custGeom>
                    <a:avLst/>
                    <a:gdLst>
                      <a:gd name="connsiteX0" fmla="*/ 60701 w 98521"/>
                      <a:gd name="connsiteY0" fmla="*/ 0 h 56965"/>
                      <a:gd name="connsiteX1" fmla="*/ 98522 w 98521"/>
                      <a:gd name="connsiteY1" fmla="*/ 21945 h 56965"/>
                      <a:gd name="connsiteX2" fmla="*/ 37821 w 98521"/>
                      <a:gd name="connsiteY2" fmla="*/ 56965 h 56965"/>
                      <a:gd name="connsiteX3" fmla="*/ 0 w 98521"/>
                      <a:gd name="connsiteY3" fmla="*/ 35486 h 569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98521" h="56965">
                        <a:moveTo>
                          <a:pt x="60701" y="0"/>
                        </a:moveTo>
                        <a:lnTo>
                          <a:pt x="98522" y="21945"/>
                        </a:lnTo>
                        <a:lnTo>
                          <a:pt x="37821" y="56965"/>
                        </a:lnTo>
                        <a:lnTo>
                          <a:pt x="0" y="35486"/>
                        </a:lnTo>
                        <a:close/>
                      </a:path>
                    </a:pathLst>
                  </a:custGeom>
                  <a:solidFill>
                    <a:srgbClr val="0C2F4B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403" name="Graphic 2">
                    <a:extLst>
                      <a:ext uri="{FF2B5EF4-FFF2-40B4-BE49-F238E27FC236}">
                        <a16:creationId xmlns:a16="http://schemas.microsoft.com/office/drawing/2014/main" id="{3281803F-D2CE-483C-A5F9-23639FB9E692}"/>
                      </a:ext>
                    </a:extLst>
                  </p:cNvPr>
                  <p:cNvSpPr/>
                  <p:nvPr/>
                </p:nvSpPr>
                <p:spPr>
                  <a:xfrm>
                    <a:off x="2995963" y="3582619"/>
                    <a:ext cx="77042" cy="44358"/>
                  </a:xfrm>
                  <a:custGeom>
                    <a:avLst/>
                    <a:gdLst>
                      <a:gd name="connsiteX0" fmla="*/ 39222 w 77042"/>
                      <a:gd name="connsiteY0" fmla="*/ 0 h 44358"/>
                      <a:gd name="connsiteX1" fmla="*/ 77043 w 77042"/>
                      <a:gd name="connsiteY1" fmla="*/ 21945 h 44358"/>
                      <a:gd name="connsiteX2" fmla="*/ 37821 w 77042"/>
                      <a:gd name="connsiteY2" fmla="*/ 44358 h 44358"/>
                      <a:gd name="connsiteX3" fmla="*/ 0 w 77042"/>
                      <a:gd name="connsiteY3" fmla="*/ 22879 h 443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7042" h="44358">
                        <a:moveTo>
                          <a:pt x="39222" y="0"/>
                        </a:moveTo>
                        <a:lnTo>
                          <a:pt x="77043" y="21945"/>
                        </a:lnTo>
                        <a:lnTo>
                          <a:pt x="37821" y="44358"/>
                        </a:lnTo>
                        <a:lnTo>
                          <a:pt x="0" y="22879"/>
                        </a:lnTo>
                        <a:close/>
                      </a:path>
                    </a:pathLst>
                  </a:custGeom>
                  <a:solidFill>
                    <a:srgbClr val="0C2F4B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404" name="Graphic 2">
                    <a:extLst>
                      <a:ext uri="{FF2B5EF4-FFF2-40B4-BE49-F238E27FC236}">
                        <a16:creationId xmlns:a16="http://schemas.microsoft.com/office/drawing/2014/main" id="{FDEDE932-8EA8-4092-BB7B-F25F9AE2F7FB}"/>
                      </a:ext>
                    </a:extLst>
                  </p:cNvPr>
                  <p:cNvSpPr/>
                  <p:nvPr/>
                </p:nvSpPr>
                <p:spPr>
                  <a:xfrm>
                    <a:off x="2949737" y="3609700"/>
                    <a:ext cx="76576" cy="44358"/>
                  </a:xfrm>
                  <a:custGeom>
                    <a:avLst/>
                    <a:gdLst>
                      <a:gd name="connsiteX0" fmla="*/ 38755 w 76576"/>
                      <a:gd name="connsiteY0" fmla="*/ 0 h 44358"/>
                      <a:gd name="connsiteX1" fmla="*/ 76576 w 76576"/>
                      <a:gd name="connsiteY1" fmla="*/ 21479 h 44358"/>
                      <a:gd name="connsiteX2" fmla="*/ 37821 w 76576"/>
                      <a:gd name="connsiteY2" fmla="*/ 44358 h 44358"/>
                      <a:gd name="connsiteX3" fmla="*/ 0 w 76576"/>
                      <a:gd name="connsiteY3" fmla="*/ 22413 h 443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6576" h="44358">
                        <a:moveTo>
                          <a:pt x="38755" y="0"/>
                        </a:moveTo>
                        <a:lnTo>
                          <a:pt x="76576" y="21479"/>
                        </a:lnTo>
                        <a:lnTo>
                          <a:pt x="37821" y="44358"/>
                        </a:lnTo>
                        <a:lnTo>
                          <a:pt x="0" y="22413"/>
                        </a:lnTo>
                        <a:close/>
                      </a:path>
                    </a:pathLst>
                  </a:custGeom>
                  <a:solidFill>
                    <a:srgbClr val="0C2F4B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405" name="Graphic 2">
                    <a:extLst>
                      <a:ext uri="{FF2B5EF4-FFF2-40B4-BE49-F238E27FC236}">
                        <a16:creationId xmlns:a16="http://schemas.microsoft.com/office/drawing/2014/main" id="{D3C6F445-50C6-4139-BCF0-4748D8ABE916}"/>
                      </a:ext>
                    </a:extLst>
                  </p:cNvPr>
                  <p:cNvSpPr/>
                  <p:nvPr/>
                </p:nvSpPr>
                <p:spPr>
                  <a:xfrm>
                    <a:off x="3024913" y="3619506"/>
                    <a:ext cx="77042" cy="44357"/>
                  </a:xfrm>
                  <a:custGeom>
                    <a:avLst/>
                    <a:gdLst>
                      <a:gd name="connsiteX0" fmla="*/ 39222 w 77042"/>
                      <a:gd name="connsiteY0" fmla="*/ 0 h 44357"/>
                      <a:gd name="connsiteX1" fmla="*/ 77043 w 77042"/>
                      <a:gd name="connsiteY1" fmla="*/ 21945 h 44357"/>
                      <a:gd name="connsiteX2" fmla="*/ 37821 w 77042"/>
                      <a:gd name="connsiteY2" fmla="*/ 44358 h 44357"/>
                      <a:gd name="connsiteX3" fmla="*/ 0 w 77042"/>
                      <a:gd name="connsiteY3" fmla="*/ 22413 h 443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7042" h="44357">
                        <a:moveTo>
                          <a:pt x="39222" y="0"/>
                        </a:moveTo>
                        <a:lnTo>
                          <a:pt x="77043" y="21945"/>
                        </a:lnTo>
                        <a:lnTo>
                          <a:pt x="37821" y="44358"/>
                        </a:lnTo>
                        <a:lnTo>
                          <a:pt x="0" y="22413"/>
                        </a:lnTo>
                        <a:close/>
                      </a:path>
                    </a:pathLst>
                  </a:custGeom>
                  <a:solidFill>
                    <a:srgbClr val="0C2F4B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406" name="Graphic 2">
                    <a:extLst>
                      <a:ext uri="{FF2B5EF4-FFF2-40B4-BE49-F238E27FC236}">
                        <a16:creationId xmlns:a16="http://schemas.microsoft.com/office/drawing/2014/main" id="{82CA2257-76D3-408B-9284-E2639FA7C991}"/>
                      </a:ext>
                    </a:extLst>
                  </p:cNvPr>
                  <p:cNvSpPr/>
                  <p:nvPr/>
                </p:nvSpPr>
                <p:spPr>
                  <a:xfrm>
                    <a:off x="2903045" y="3636782"/>
                    <a:ext cx="76576" cy="44358"/>
                  </a:xfrm>
                  <a:custGeom>
                    <a:avLst/>
                    <a:gdLst>
                      <a:gd name="connsiteX0" fmla="*/ 39222 w 76576"/>
                      <a:gd name="connsiteY0" fmla="*/ 0 h 44358"/>
                      <a:gd name="connsiteX1" fmla="*/ 76576 w 76576"/>
                      <a:gd name="connsiteY1" fmla="*/ 21945 h 44358"/>
                      <a:gd name="connsiteX2" fmla="*/ 37821 w 76576"/>
                      <a:gd name="connsiteY2" fmla="*/ 44358 h 44358"/>
                      <a:gd name="connsiteX3" fmla="*/ 0 w 76576"/>
                      <a:gd name="connsiteY3" fmla="*/ 22413 h 443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6576" h="44358">
                        <a:moveTo>
                          <a:pt x="39222" y="0"/>
                        </a:moveTo>
                        <a:lnTo>
                          <a:pt x="76576" y="21945"/>
                        </a:lnTo>
                        <a:lnTo>
                          <a:pt x="37821" y="44358"/>
                        </a:lnTo>
                        <a:lnTo>
                          <a:pt x="0" y="22413"/>
                        </a:lnTo>
                        <a:close/>
                      </a:path>
                    </a:pathLst>
                  </a:custGeom>
                  <a:solidFill>
                    <a:srgbClr val="0C2F4B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407" name="Graphic 2">
                    <a:extLst>
                      <a:ext uri="{FF2B5EF4-FFF2-40B4-BE49-F238E27FC236}">
                        <a16:creationId xmlns:a16="http://schemas.microsoft.com/office/drawing/2014/main" id="{C569408D-9504-4D0B-860A-570FCCD11164}"/>
                      </a:ext>
                    </a:extLst>
                  </p:cNvPr>
                  <p:cNvSpPr/>
                  <p:nvPr/>
                </p:nvSpPr>
                <p:spPr>
                  <a:xfrm>
                    <a:off x="2980555" y="3645187"/>
                    <a:ext cx="76576" cy="44358"/>
                  </a:xfrm>
                  <a:custGeom>
                    <a:avLst/>
                    <a:gdLst>
                      <a:gd name="connsiteX0" fmla="*/ 38755 w 76576"/>
                      <a:gd name="connsiteY0" fmla="*/ 0 h 44358"/>
                      <a:gd name="connsiteX1" fmla="*/ 76576 w 76576"/>
                      <a:gd name="connsiteY1" fmla="*/ 21945 h 44358"/>
                      <a:gd name="connsiteX2" fmla="*/ 37354 w 76576"/>
                      <a:gd name="connsiteY2" fmla="*/ 44358 h 44358"/>
                      <a:gd name="connsiteX3" fmla="*/ 0 w 76576"/>
                      <a:gd name="connsiteY3" fmla="*/ 22879 h 443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6576" h="44358">
                        <a:moveTo>
                          <a:pt x="38755" y="0"/>
                        </a:moveTo>
                        <a:lnTo>
                          <a:pt x="76576" y="21945"/>
                        </a:lnTo>
                        <a:lnTo>
                          <a:pt x="37354" y="44358"/>
                        </a:lnTo>
                        <a:lnTo>
                          <a:pt x="0" y="22879"/>
                        </a:lnTo>
                        <a:close/>
                      </a:path>
                    </a:pathLst>
                  </a:custGeom>
                  <a:solidFill>
                    <a:srgbClr val="0C2F4B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408" name="Graphic 2">
                    <a:extLst>
                      <a:ext uri="{FF2B5EF4-FFF2-40B4-BE49-F238E27FC236}">
                        <a16:creationId xmlns:a16="http://schemas.microsoft.com/office/drawing/2014/main" id="{3412E276-0B4E-4528-B8F8-661F0BE65CAC}"/>
                      </a:ext>
                    </a:extLst>
                  </p:cNvPr>
                  <p:cNvSpPr/>
                  <p:nvPr/>
                </p:nvSpPr>
                <p:spPr>
                  <a:xfrm>
                    <a:off x="3156586" y="3649856"/>
                    <a:ext cx="77042" cy="44358"/>
                  </a:xfrm>
                  <a:custGeom>
                    <a:avLst/>
                    <a:gdLst>
                      <a:gd name="connsiteX0" fmla="*/ 39222 w 77042"/>
                      <a:gd name="connsiteY0" fmla="*/ 0 h 44358"/>
                      <a:gd name="connsiteX1" fmla="*/ 77043 w 77042"/>
                      <a:gd name="connsiteY1" fmla="*/ 21946 h 44358"/>
                      <a:gd name="connsiteX2" fmla="*/ 37821 w 77042"/>
                      <a:gd name="connsiteY2" fmla="*/ 44358 h 44358"/>
                      <a:gd name="connsiteX3" fmla="*/ 0 w 77042"/>
                      <a:gd name="connsiteY3" fmla="*/ 22880 h 443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7042" h="44358">
                        <a:moveTo>
                          <a:pt x="39222" y="0"/>
                        </a:moveTo>
                        <a:lnTo>
                          <a:pt x="77043" y="21946"/>
                        </a:lnTo>
                        <a:lnTo>
                          <a:pt x="37821" y="44358"/>
                        </a:lnTo>
                        <a:lnTo>
                          <a:pt x="0" y="22880"/>
                        </a:lnTo>
                        <a:close/>
                      </a:path>
                    </a:pathLst>
                  </a:custGeom>
                  <a:solidFill>
                    <a:srgbClr val="0C2F4B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409" name="Graphic 2">
                    <a:extLst>
                      <a:ext uri="{FF2B5EF4-FFF2-40B4-BE49-F238E27FC236}">
                        <a16:creationId xmlns:a16="http://schemas.microsoft.com/office/drawing/2014/main" id="{DE264718-3B53-40CE-A54C-03293CAAFD01}"/>
                      </a:ext>
                    </a:extLst>
                  </p:cNvPr>
                  <p:cNvSpPr/>
                  <p:nvPr/>
                </p:nvSpPr>
                <p:spPr>
                  <a:xfrm>
                    <a:off x="2856352" y="3663864"/>
                    <a:ext cx="77043" cy="44358"/>
                  </a:xfrm>
                  <a:custGeom>
                    <a:avLst/>
                    <a:gdLst>
                      <a:gd name="connsiteX0" fmla="*/ 39222 w 77043"/>
                      <a:gd name="connsiteY0" fmla="*/ 0 h 44358"/>
                      <a:gd name="connsiteX1" fmla="*/ 77043 w 77043"/>
                      <a:gd name="connsiteY1" fmla="*/ 21479 h 44358"/>
                      <a:gd name="connsiteX2" fmla="*/ 37821 w 77043"/>
                      <a:gd name="connsiteY2" fmla="*/ 44358 h 44358"/>
                      <a:gd name="connsiteX3" fmla="*/ 0 w 77043"/>
                      <a:gd name="connsiteY3" fmla="*/ 22413 h 443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7043" h="44358">
                        <a:moveTo>
                          <a:pt x="39222" y="0"/>
                        </a:moveTo>
                        <a:lnTo>
                          <a:pt x="77043" y="21479"/>
                        </a:lnTo>
                        <a:lnTo>
                          <a:pt x="37821" y="44358"/>
                        </a:lnTo>
                        <a:lnTo>
                          <a:pt x="0" y="22413"/>
                        </a:lnTo>
                        <a:close/>
                      </a:path>
                    </a:pathLst>
                  </a:custGeom>
                  <a:solidFill>
                    <a:srgbClr val="0C2F4B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410" name="Graphic 2">
                    <a:extLst>
                      <a:ext uri="{FF2B5EF4-FFF2-40B4-BE49-F238E27FC236}">
                        <a16:creationId xmlns:a16="http://schemas.microsoft.com/office/drawing/2014/main" id="{231EA96E-C960-411B-BDBE-52849B947D7C}"/>
                      </a:ext>
                    </a:extLst>
                  </p:cNvPr>
                  <p:cNvSpPr/>
                  <p:nvPr/>
                </p:nvSpPr>
                <p:spPr>
                  <a:xfrm>
                    <a:off x="3041722" y="3663397"/>
                    <a:ext cx="76576" cy="44358"/>
                  </a:xfrm>
                  <a:custGeom>
                    <a:avLst/>
                    <a:gdLst>
                      <a:gd name="connsiteX0" fmla="*/ 38755 w 76576"/>
                      <a:gd name="connsiteY0" fmla="*/ 0 h 44358"/>
                      <a:gd name="connsiteX1" fmla="*/ 76576 w 76576"/>
                      <a:gd name="connsiteY1" fmla="*/ 21479 h 44358"/>
                      <a:gd name="connsiteX2" fmla="*/ 37821 w 76576"/>
                      <a:gd name="connsiteY2" fmla="*/ 44358 h 44358"/>
                      <a:gd name="connsiteX3" fmla="*/ 0 w 76576"/>
                      <a:gd name="connsiteY3" fmla="*/ 22413 h 443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6576" h="44358">
                        <a:moveTo>
                          <a:pt x="38755" y="0"/>
                        </a:moveTo>
                        <a:lnTo>
                          <a:pt x="76576" y="21479"/>
                        </a:lnTo>
                        <a:lnTo>
                          <a:pt x="37821" y="44358"/>
                        </a:lnTo>
                        <a:lnTo>
                          <a:pt x="0" y="22413"/>
                        </a:lnTo>
                        <a:close/>
                      </a:path>
                    </a:pathLst>
                  </a:custGeom>
                  <a:solidFill>
                    <a:srgbClr val="0C2F4B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411" name="Graphic 2">
                    <a:extLst>
                      <a:ext uri="{FF2B5EF4-FFF2-40B4-BE49-F238E27FC236}">
                        <a16:creationId xmlns:a16="http://schemas.microsoft.com/office/drawing/2014/main" id="{2D6BDE24-C2BD-452C-9513-CFB58F267245}"/>
                      </a:ext>
                    </a:extLst>
                  </p:cNvPr>
                  <p:cNvSpPr/>
                  <p:nvPr/>
                </p:nvSpPr>
                <p:spPr>
                  <a:xfrm>
                    <a:off x="2935730" y="3671335"/>
                    <a:ext cx="77042" cy="44358"/>
                  </a:xfrm>
                  <a:custGeom>
                    <a:avLst/>
                    <a:gdLst>
                      <a:gd name="connsiteX0" fmla="*/ 39222 w 77042"/>
                      <a:gd name="connsiteY0" fmla="*/ 0 h 44358"/>
                      <a:gd name="connsiteX1" fmla="*/ 77043 w 77042"/>
                      <a:gd name="connsiteY1" fmla="*/ 21479 h 44358"/>
                      <a:gd name="connsiteX2" fmla="*/ 37821 w 77042"/>
                      <a:gd name="connsiteY2" fmla="*/ 44358 h 44358"/>
                      <a:gd name="connsiteX3" fmla="*/ 0 w 77042"/>
                      <a:gd name="connsiteY3" fmla="*/ 22413 h 443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7042" h="44358">
                        <a:moveTo>
                          <a:pt x="39222" y="0"/>
                        </a:moveTo>
                        <a:lnTo>
                          <a:pt x="77043" y="21479"/>
                        </a:lnTo>
                        <a:lnTo>
                          <a:pt x="37821" y="44358"/>
                        </a:lnTo>
                        <a:lnTo>
                          <a:pt x="0" y="22413"/>
                        </a:lnTo>
                        <a:close/>
                      </a:path>
                    </a:pathLst>
                  </a:custGeom>
                  <a:solidFill>
                    <a:srgbClr val="0C2F4B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412" name="Graphic 2">
                    <a:extLst>
                      <a:ext uri="{FF2B5EF4-FFF2-40B4-BE49-F238E27FC236}">
                        <a16:creationId xmlns:a16="http://schemas.microsoft.com/office/drawing/2014/main" id="{7B812666-0B38-45FD-8B52-8ABED30248C8}"/>
                      </a:ext>
                    </a:extLst>
                  </p:cNvPr>
                  <p:cNvSpPr/>
                  <p:nvPr/>
                </p:nvSpPr>
                <p:spPr>
                  <a:xfrm>
                    <a:off x="3112695" y="3675537"/>
                    <a:ext cx="77042" cy="44358"/>
                  </a:xfrm>
                  <a:custGeom>
                    <a:avLst/>
                    <a:gdLst>
                      <a:gd name="connsiteX0" fmla="*/ 39222 w 77042"/>
                      <a:gd name="connsiteY0" fmla="*/ 0 h 44358"/>
                      <a:gd name="connsiteX1" fmla="*/ 77043 w 77042"/>
                      <a:gd name="connsiteY1" fmla="*/ 21946 h 44358"/>
                      <a:gd name="connsiteX2" fmla="*/ 37821 w 77042"/>
                      <a:gd name="connsiteY2" fmla="*/ 44358 h 44358"/>
                      <a:gd name="connsiteX3" fmla="*/ 0 w 77042"/>
                      <a:gd name="connsiteY3" fmla="*/ 22413 h 443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7042" h="44358">
                        <a:moveTo>
                          <a:pt x="39222" y="0"/>
                        </a:moveTo>
                        <a:lnTo>
                          <a:pt x="77043" y="21946"/>
                        </a:lnTo>
                        <a:lnTo>
                          <a:pt x="37821" y="44358"/>
                        </a:lnTo>
                        <a:lnTo>
                          <a:pt x="0" y="22413"/>
                        </a:lnTo>
                        <a:close/>
                      </a:path>
                    </a:pathLst>
                  </a:custGeom>
                  <a:solidFill>
                    <a:srgbClr val="0C2F4B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413" name="Graphic 2">
                    <a:extLst>
                      <a:ext uri="{FF2B5EF4-FFF2-40B4-BE49-F238E27FC236}">
                        <a16:creationId xmlns:a16="http://schemas.microsoft.com/office/drawing/2014/main" id="{9F7EACA9-FEAD-4382-9DE0-AE5687CC6FE8}"/>
                      </a:ext>
                    </a:extLst>
                  </p:cNvPr>
                  <p:cNvSpPr/>
                  <p:nvPr/>
                </p:nvSpPr>
                <p:spPr>
                  <a:xfrm>
                    <a:off x="2997831" y="3688611"/>
                    <a:ext cx="76576" cy="44357"/>
                  </a:xfrm>
                  <a:custGeom>
                    <a:avLst/>
                    <a:gdLst>
                      <a:gd name="connsiteX0" fmla="*/ 38755 w 76576"/>
                      <a:gd name="connsiteY0" fmla="*/ 0 h 44357"/>
                      <a:gd name="connsiteX1" fmla="*/ 76576 w 76576"/>
                      <a:gd name="connsiteY1" fmla="*/ 21945 h 44357"/>
                      <a:gd name="connsiteX2" fmla="*/ 37354 w 76576"/>
                      <a:gd name="connsiteY2" fmla="*/ 44358 h 44357"/>
                      <a:gd name="connsiteX3" fmla="*/ 0 w 76576"/>
                      <a:gd name="connsiteY3" fmla="*/ 22879 h 443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6576" h="44357">
                        <a:moveTo>
                          <a:pt x="38755" y="0"/>
                        </a:moveTo>
                        <a:lnTo>
                          <a:pt x="76576" y="21945"/>
                        </a:lnTo>
                        <a:lnTo>
                          <a:pt x="37354" y="44358"/>
                        </a:lnTo>
                        <a:lnTo>
                          <a:pt x="0" y="22879"/>
                        </a:lnTo>
                        <a:close/>
                      </a:path>
                    </a:pathLst>
                  </a:custGeom>
                  <a:solidFill>
                    <a:srgbClr val="0C2F4B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414" name="Graphic 2">
                    <a:extLst>
                      <a:ext uri="{FF2B5EF4-FFF2-40B4-BE49-F238E27FC236}">
                        <a16:creationId xmlns:a16="http://schemas.microsoft.com/office/drawing/2014/main" id="{E76251E5-A218-4557-9A82-4E9F878CFF47}"/>
                      </a:ext>
                    </a:extLst>
                  </p:cNvPr>
                  <p:cNvSpPr/>
                  <p:nvPr/>
                </p:nvSpPr>
                <p:spPr>
                  <a:xfrm>
                    <a:off x="2809659" y="3690479"/>
                    <a:ext cx="77043" cy="44825"/>
                  </a:xfrm>
                  <a:custGeom>
                    <a:avLst/>
                    <a:gdLst>
                      <a:gd name="connsiteX0" fmla="*/ 39222 w 77043"/>
                      <a:gd name="connsiteY0" fmla="*/ 0 h 44825"/>
                      <a:gd name="connsiteX1" fmla="*/ 77043 w 77043"/>
                      <a:gd name="connsiteY1" fmla="*/ 21946 h 44825"/>
                      <a:gd name="connsiteX2" fmla="*/ 37821 w 77043"/>
                      <a:gd name="connsiteY2" fmla="*/ 44825 h 44825"/>
                      <a:gd name="connsiteX3" fmla="*/ 0 w 77043"/>
                      <a:gd name="connsiteY3" fmla="*/ 22880 h 448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7043" h="44825">
                        <a:moveTo>
                          <a:pt x="39222" y="0"/>
                        </a:moveTo>
                        <a:lnTo>
                          <a:pt x="77043" y="21946"/>
                        </a:lnTo>
                        <a:lnTo>
                          <a:pt x="37821" y="44825"/>
                        </a:lnTo>
                        <a:lnTo>
                          <a:pt x="0" y="22880"/>
                        </a:lnTo>
                        <a:close/>
                      </a:path>
                    </a:pathLst>
                  </a:custGeom>
                  <a:solidFill>
                    <a:srgbClr val="0C2F4B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415" name="Graphic 2">
                    <a:extLst>
                      <a:ext uri="{FF2B5EF4-FFF2-40B4-BE49-F238E27FC236}">
                        <a16:creationId xmlns:a16="http://schemas.microsoft.com/office/drawing/2014/main" id="{FD5EFEC7-97DE-49CF-BFCD-739BCC712C1E}"/>
                      </a:ext>
                    </a:extLst>
                  </p:cNvPr>
                  <p:cNvSpPr/>
                  <p:nvPr/>
                </p:nvSpPr>
                <p:spPr>
                  <a:xfrm>
                    <a:off x="2891371" y="3697016"/>
                    <a:ext cx="77043" cy="44357"/>
                  </a:xfrm>
                  <a:custGeom>
                    <a:avLst/>
                    <a:gdLst>
                      <a:gd name="connsiteX0" fmla="*/ 39222 w 77043"/>
                      <a:gd name="connsiteY0" fmla="*/ 0 h 44357"/>
                      <a:gd name="connsiteX1" fmla="*/ 77043 w 77043"/>
                      <a:gd name="connsiteY1" fmla="*/ 21479 h 44357"/>
                      <a:gd name="connsiteX2" fmla="*/ 37821 w 77043"/>
                      <a:gd name="connsiteY2" fmla="*/ 44358 h 44357"/>
                      <a:gd name="connsiteX3" fmla="*/ 0 w 77043"/>
                      <a:gd name="connsiteY3" fmla="*/ 22413 h 443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7043" h="44357">
                        <a:moveTo>
                          <a:pt x="39222" y="0"/>
                        </a:moveTo>
                        <a:lnTo>
                          <a:pt x="77043" y="21479"/>
                        </a:lnTo>
                        <a:lnTo>
                          <a:pt x="37821" y="44358"/>
                        </a:lnTo>
                        <a:lnTo>
                          <a:pt x="0" y="22413"/>
                        </a:lnTo>
                        <a:close/>
                      </a:path>
                    </a:pathLst>
                  </a:custGeom>
                  <a:solidFill>
                    <a:srgbClr val="0C2F4B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416" name="Graphic 2">
                    <a:extLst>
                      <a:ext uri="{FF2B5EF4-FFF2-40B4-BE49-F238E27FC236}">
                        <a16:creationId xmlns:a16="http://schemas.microsoft.com/office/drawing/2014/main" id="{01150A8E-B95C-4EE5-823A-CD7F65502A86}"/>
                      </a:ext>
                    </a:extLst>
                  </p:cNvPr>
                  <p:cNvSpPr/>
                  <p:nvPr/>
                </p:nvSpPr>
                <p:spPr>
                  <a:xfrm>
                    <a:off x="2953473" y="3714292"/>
                    <a:ext cx="77043" cy="44358"/>
                  </a:xfrm>
                  <a:custGeom>
                    <a:avLst/>
                    <a:gdLst>
                      <a:gd name="connsiteX0" fmla="*/ 39222 w 77043"/>
                      <a:gd name="connsiteY0" fmla="*/ 0 h 44358"/>
                      <a:gd name="connsiteX1" fmla="*/ 77043 w 77043"/>
                      <a:gd name="connsiteY1" fmla="*/ 21946 h 44358"/>
                      <a:gd name="connsiteX2" fmla="*/ 37821 w 77043"/>
                      <a:gd name="connsiteY2" fmla="*/ 44358 h 44358"/>
                      <a:gd name="connsiteX3" fmla="*/ 0 w 77043"/>
                      <a:gd name="connsiteY3" fmla="*/ 22413 h 443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7043" h="44358">
                        <a:moveTo>
                          <a:pt x="39222" y="0"/>
                        </a:moveTo>
                        <a:lnTo>
                          <a:pt x="77043" y="21946"/>
                        </a:lnTo>
                        <a:lnTo>
                          <a:pt x="37821" y="44358"/>
                        </a:lnTo>
                        <a:lnTo>
                          <a:pt x="0" y="22413"/>
                        </a:lnTo>
                        <a:close/>
                      </a:path>
                    </a:pathLst>
                  </a:custGeom>
                  <a:solidFill>
                    <a:srgbClr val="0C2F4B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417" name="Graphic 2">
                    <a:extLst>
                      <a:ext uri="{FF2B5EF4-FFF2-40B4-BE49-F238E27FC236}">
                        <a16:creationId xmlns:a16="http://schemas.microsoft.com/office/drawing/2014/main" id="{1133D88F-C72B-4F44-9A91-040A88FD2124}"/>
                      </a:ext>
                    </a:extLst>
                  </p:cNvPr>
                  <p:cNvSpPr/>
                  <p:nvPr/>
                </p:nvSpPr>
                <p:spPr>
                  <a:xfrm>
                    <a:off x="2763433" y="3717561"/>
                    <a:ext cx="76576" cy="44825"/>
                  </a:xfrm>
                  <a:custGeom>
                    <a:avLst/>
                    <a:gdLst>
                      <a:gd name="connsiteX0" fmla="*/ 39222 w 76576"/>
                      <a:gd name="connsiteY0" fmla="*/ 0 h 44825"/>
                      <a:gd name="connsiteX1" fmla="*/ 76576 w 76576"/>
                      <a:gd name="connsiteY1" fmla="*/ 21946 h 44825"/>
                      <a:gd name="connsiteX2" fmla="*/ 37821 w 76576"/>
                      <a:gd name="connsiteY2" fmla="*/ 44825 h 44825"/>
                      <a:gd name="connsiteX3" fmla="*/ 0 w 76576"/>
                      <a:gd name="connsiteY3" fmla="*/ 22879 h 448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6576" h="44825">
                        <a:moveTo>
                          <a:pt x="39222" y="0"/>
                        </a:moveTo>
                        <a:lnTo>
                          <a:pt x="76576" y="21946"/>
                        </a:lnTo>
                        <a:lnTo>
                          <a:pt x="37821" y="44825"/>
                        </a:lnTo>
                        <a:lnTo>
                          <a:pt x="0" y="22879"/>
                        </a:lnTo>
                        <a:close/>
                      </a:path>
                    </a:pathLst>
                  </a:custGeom>
                  <a:solidFill>
                    <a:srgbClr val="0C2F4B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418" name="Graphic 2">
                    <a:extLst>
                      <a:ext uri="{FF2B5EF4-FFF2-40B4-BE49-F238E27FC236}">
                        <a16:creationId xmlns:a16="http://schemas.microsoft.com/office/drawing/2014/main" id="{599A79B2-8445-4F43-92B2-254169750AF4}"/>
                      </a:ext>
                    </a:extLst>
                  </p:cNvPr>
                  <p:cNvSpPr/>
                  <p:nvPr/>
                </p:nvSpPr>
                <p:spPr>
                  <a:xfrm>
                    <a:off x="2847013" y="3722697"/>
                    <a:ext cx="76576" cy="44358"/>
                  </a:xfrm>
                  <a:custGeom>
                    <a:avLst/>
                    <a:gdLst>
                      <a:gd name="connsiteX0" fmla="*/ 39222 w 76576"/>
                      <a:gd name="connsiteY0" fmla="*/ 0 h 44358"/>
                      <a:gd name="connsiteX1" fmla="*/ 76576 w 76576"/>
                      <a:gd name="connsiteY1" fmla="*/ 21945 h 44358"/>
                      <a:gd name="connsiteX2" fmla="*/ 37821 w 76576"/>
                      <a:gd name="connsiteY2" fmla="*/ 44358 h 44358"/>
                      <a:gd name="connsiteX3" fmla="*/ 0 w 76576"/>
                      <a:gd name="connsiteY3" fmla="*/ 22413 h 443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6576" h="44358">
                        <a:moveTo>
                          <a:pt x="39222" y="0"/>
                        </a:moveTo>
                        <a:lnTo>
                          <a:pt x="76576" y="21945"/>
                        </a:lnTo>
                        <a:lnTo>
                          <a:pt x="37821" y="44358"/>
                        </a:lnTo>
                        <a:lnTo>
                          <a:pt x="0" y="22413"/>
                        </a:lnTo>
                        <a:close/>
                      </a:path>
                    </a:pathLst>
                  </a:custGeom>
                  <a:solidFill>
                    <a:srgbClr val="0C2F4B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419" name="Graphic 2">
                    <a:extLst>
                      <a:ext uri="{FF2B5EF4-FFF2-40B4-BE49-F238E27FC236}">
                        <a16:creationId xmlns:a16="http://schemas.microsoft.com/office/drawing/2014/main" id="{418E711A-3AF9-4EB6-88FE-16DB1B9F6919}"/>
                      </a:ext>
                    </a:extLst>
                  </p:cNvPr>
                  <p:cNvSpPr/>
                  <p:nvPr/>
                </p:nvSpPr>
                <p:spPr>
                  <a:xfrm>
                    <a:off x="3023979" y="3726899"/>
                    <a:ext cx="76576" cy="44825"/>
                  </a:xfrm>
                  <a:custGeom>
                    <a:avLst/>
                    <a:gdLst>
                      <a:gd name="connsiteX0" fmla="*/ 38755 w 76576"/>
                      <a:gd name="connsiteY0" fmla="*/ 0 h 44825"/>
                      <a:gd name="connsiteX1" fmla="*/ 76576 w 76576"/>
                      <a:gd name="connsiteY1" fmla="*/ 21945 h 44825"/>
                      <a:gd name="connsiteX2" fmla="*/ 37354 w 76576"/>
                      <a:gd name="connsiteY2" fmla="*/ 44825 h 44825"/>
                      <a:gd name="connsiteX3" fmla="*/ 0 w 76576"/>
                      <a:gd name="connsiteY3" fmla="*/ 22879 h 448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6576" h="44825">
                        <a:moveTo>
                          <a:pt x="38755" y="0"/>
                        </a:moveTo>
                        <a:lnTo>
                          <a:pt x="76576" y="21945"/>
                        </a:lnTo>
                        <a:lnTo>
                          <a:pt x="37354" y="44825"/>
                        </a:lnTo>
                        <a:lnTo>
                          <a:pt x="0" y="22879"/>
                        </a:lnTo>
                        <a:close/>
                      </a:path>
                    </a:pathLst>
                  </a:custGeom>
                  <a:solidFill>
                    <a:srgbClr val="0C2F4B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420" name="Graphic 2">
                    <a:extLst>
                      <a:ext uri="{FF2B5EF4-FFF2-40B4-BE49-F238E27FC236}">
                        <a16:creationId xmlns:a16="http://schemas.microsoft.com/office/drawing/2014/main" id="{188ED8FB-D21D-4ED4-9103-BD710E673C90}"/>
                      </a:ext>
                    </a:extLst>
                  </p:cNvPr>
                  <p:cNvSpPr/>
                  <p:nvPr/>
                </p:nvSpPr>
                <p:spPr>
                  <a:xfrm>
                    <a:off x="2909582" y="3739973"/>
                    <a:ext cx="77043" cy="44358"/>
                  </a:xfrm>
                  <a:custGeom>
                    <a:avLst/>
                    <a:gdLst>
                      <a:gd name="connsiteX0" fmla="*/ 39222 w 77043"/>
                      <a:gd name="connsiteY0" fmla="*/ 0 h 44358"/>
                      <a:gd name="connsiteX1" fmla="*/ 77043 w 77043"/>
                      <a:gd name="connsiteY1" fmla="*/ 21479 h 44358"/>
                      <a:gd name="connsiteX2" fmla="*/ 37821 w 77043"/>
                      <a:gd name="connsiteY2" fmla="*/ 44358 h 44358"/>
                      <a:gd name="connsiteX3" fmla="*/ 0 w 77043"/>
                      <a:gd name="connsiteY3" fmla="*/ 22413 h 443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7043" h="44358">
                        <a:moveTo>
                          <a:pt x="39222" y="0"/>
                        </a:moveTo>
                        <a:lnTo>
                          <a:pt x="77043" y="21479"/>
                        </a:lnTo>
                        <a:lnTo>
                          <a:pt x="37821" y="44358"/>
                        </a:lnTo>
                        <a:lnTo>
                          <a:pt x="0" y="22413"/>
                        </a:lnTo>
                        <a:close/>
                      </a:path>
                    </a:pathLst>
                  </a:custGeom>
                  <a:solidFill>
                    <a:srgbClr val="0C2F4B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421" name="Graphic 2">
                    <a:extLst>
                      <a:ext uri="{FF2B5EF4-FFF2-40B4-BE49-F238E27FC236}">
                        <a16:creationId xmlns:a16="http://schemas.microsoft.com/office/drawing/2014/main" id="{F369258C-C5F7-417E-A606-A77BB96C070A}"/>
                      </a:ext>
                    </a:extLst>
                  </p:cNvPr>
                  <p:cNvSpPr/>
                  <p:nvPr/>
                </p:nvSpPr>
                <p:spPr>
                  <a:xfrm>
                    <a:off x="2716741" y="3744643"/>
                    <a:ext cx="77043" cy="44358"/>
                  </a:xfrm>
                  <a:custGeom>
                    <a:avLst/>
                    <a:gdLst>
                      <a:gd name="connsiteX0" fmla="*/ 39222 w 77043"/>
                      <a:gd name="connsiteY0" fmla="*/ 0 h 44358"/>
                      <a:gd name="connsiteX1" fmla="*/ 77043 w 77043"/>
                      <a:gd name="connsiteY1" fmla="*/ 21946 h 44358"/>
                      <a:gd name="connsiteX2" fmla="*/ 37821 w 77043"/>
                      <a:gd name="connsiteY2" fmla="*/ 44358 h 44358"/>
                      <a:gd name="connsiteX3" fmla="*/ 0 w 77043"/>
                      <a:gd name="connsiteY3" fmla="*/ 22880 h 443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7043" h="44358">
                        <a:moveTo>
                          <a:pt x="39222" y="0"/>
                        </a:moveTo>
                        <a:lnTo>
                          <a:pt x="77043" y="21946"/>
                        </a:lnTo>
                        <a:lnTo>
                          <a:pt x="37821" y="44358"/>
                        </a:lnTo>
                        <a:lnTo>
                          <a:pt x="0" y="22880"/>
                        </a:lnTo>
                        <a:close/>
                      </a:path>
                    </a:pathLst>
                  </a:custGeom>
                  <a:solidFill>
                    <a:srgbClr val="0C2F4B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422" name="Graphic 2">
                    <a:extLst>
                      <a:ext uri="{FF2B5EF4-FFF2-40B4-BE49-F238E27FC236}">
                        <a16:creationId xmlns:a16="http://schemas.microsoft.com/office/drawing/2014/main" id="{04A548FF-DEC9-4B95-9374-EB1470BA02EB}"/>
                      </a:ext>
                    </a:extLst>
                  </p:cNvPr>
                  <p:cNvSpPr/>
                  <p:nvPr/>
                </p:nvSpPr>
                <p:spPr>
                  <a:xfrm>
                    <a:off x="2802655" y="3748378"/>
                    <a:ext cx="76576" cy="44825"/>
                  </a:xfrm>
                  <a:custGeom>
                    <a:avLst/>
                    <a:gdLst>
                      <a:gd name="connsiteX0" fmla="*/ 38755 w 76576"/>
                      <a:gd name="connsiteY0" fmla="*/ 0 h 44825"/>
                      <a:gd name="connsiteX1" fmla="*/ 76576 w 76576"/>
                      <a:gd name="connsiteY1" fmla="*/ 21946 h 44825"/>
                      <a:gd name="connsiteX2" fmla="*/ 37354 w 76576"/>
                      <a:gd name="connsiteY2" fmla="*/ 44825 h 44825"/>
                      <a:gd name="connsiteX3" fmla="*/ 0 w 76576"/>
                      <a:gd name="connsiteY3" fmla="*/ 22880 h 448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6576" h="44825">
                        <a:moveTo>
                          <a:pt x="38755" y="0"/>
                        </a:moveTo>
                        <a:lnTo>
                          <a:pt x="76576" y="21946"/>
                        </a:lnTo>
                        <a:lnTo>
                          <a:pt x="37354" y="44825"/>
                        </a:lnTo>
                        <a:lnTo>
                          <a:pt x="0" y="22880"/>
                        </a:lnTo>
                        <a:close/>
                      </a:path>
                    </a:pathLst>
                  </a:custGeom>
                  <a:solidFill>
                    <a:srgbClr val="0C2F4B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423" name="Graphic 2">
                    <a:extLst>
                      <a:ext uri="{FF2B5EF4-FFF2-40B4-BE49-F238E27FC236}">
                        <a16:creationId xmlns:a16="http://schemas.microsoft.com/office/drawing/2014/main" id="{873D11F1-813E-4A5B-93E2-C52373AF06BA}"/>
                      </a:ext>
                    </a:extLst>
                  </p:cNvPr>
                  <p:cNvSpPr/>
                  <p:nvPr/>
                </p:nvSpPr>
                <p:spPr>
                  <a:xfrm>
                    <a:off x="2980088" y="3752113"/>
                    <a:ext cx="77042" cy="44825"/>
                  </a:xfrm>
                  <a:custGeom>
                    <a:avLst/>
                    <a:gdLst>
                      <a:gd name="connsiteX0" fmla="*/ 39222 w 77042"/>
                      <a:gd name="connsiteY0" fmla="*/ 0 h 44825"/>
                      <a:gd name="connsiteX1" fmla="*/ 77043 w 77042"/>
                      <a:gd name="connsiteY1" fmla="*/ 21946 h 44825"/>
                      <a:gd name="connsiteX2" fmla="*/ 37821 w 77042"/>
                      <a:gd name="connsiteY2" fmla="*/ 44825 h 44825"/>
                      <a:gd name="connsiteX3" fmla="*/ 0 w 77042"/>
                      <a:gd name="connsiteY3" fmla="*/ 22880 h 448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7042" h="44825">
                        <a:moveTo>
                          <a:pt x="39222" y="0"/>
                        </a:moveTo>
                        <a:lnTo>
                          <a:pt x="77043" y="21946"/>
                        </a:lnTo>
                        <a:lnTo>
                          <a:pt x="37821" y="44825"/>
                        </a:lnTo>
                        <a:lnTo>
                          <a:pt x="0" y="22880"/>
                        </a:lnTo>
                        <a:close/>
                      </a:path>
                    </a:pathLst>
                  </a:custGeom>
                  <a:solidFill>
                    <a:srgbClr val="0C2F4B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424" name="Graphic 2">
                    <a:extLst>
                      <a:ext uri="{FF2B5EF4-FFF2-40B4-BE49-F238E27FC236}">
                        <a16:creationId xmlns:a16="http://schemas.microsoft.com/office/drawing/2014/main" id="{1C583598-AC8F-4406-A8C6-13EA31938C03}"/>
                      </a:ext>
                    </a:extLst>
                  </p:cNvPr>
                  <p:cNvSpPr/>
                  <p:nvPr/>
                </p:nvSpPr>
                <p:spPr>
                  <a:xfrm>
                    <a:off x="2865690" y="3765187"/>
                    <a:ext cx="77042" cy="44358"/>
                  </a:xfrm>
                  <a:custGeom>
                    <a:avLst/>
                    <a:gdLst>
                      <a:gd name="connsiteX0" fmla="*/ 39222 w 77042"/>
                      <a:gd name="connsiteY0" fmla="*/ 0 h 44358"/>
                      <a:gd name="connsiteX1" fmla="*/ 77043 w 77042"/>
                      <a:gd name="connsiteY1" fmla="*/ 21945 h 44358"/>
                      <a:gd name="connsiteX2" fmla="*/ 37821 w 77042"/>
                      <a:gd name="connsiteY2" fmla="*/ 44358 h 44358"/>
                      <a:gd name="connsiteX3" fmla="*/ 0 w 77042"/>
                      <a:gd name="connsiteY3" fmla="*/ 22879 h 443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7042" h="44358">
                        <a:moveTo>
                          <a:pt x="39222" y="0"/>
                        </a:moveTo>
                        <a:lnTo>
                          <a:pt x="77043" y="21945"/>
                        </a:lnTo>
                        <a:lnTo>
                          <a:pt x="37821" y="44358"/>
                        </a:lnTo>
                        <a:lnTo>
                          <a:pt x="0" y="22879"/>
                        </a:lnTo>
                        <a:close/>
                      </a:path>
                    </a:pathLst>
                  </a:custGeom>
                  <a:solidFill>
                    <a:srgbClr val="0C2F4B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425" name="Graphic 2">
                    <a:extLst>
                      <a:ext uri="{FF2B5EF4-FFF2-40B4-BE49-F238E27FC236}">
                        <a16:creationId xmlns:a16="http://schemas.microsoft.com/office/drawing/2014/main" id="{AEBE212B-154D-4AE1-B8D3-526B5B758A96}"/>
                      </a:ext>
                    </a:extLst>
                  </p:cNvPr>
                  <p:cNvSpPr/>
                  <p:nvPr/>
                </p:nvSpPr>
                <p:spPr>
                  <a:xfrm>
                    <a:off x="2936196" y="3777795"/>
                    <a:ext cx="77043" cy="44357"/>
                  </a:xfrm>
                  <a:custGeom>
                    <a:avLst/>
                    <a:gdLst>
                      <a:gd name="connsiteX0" fmla="*/ 39222 w 77043"/>
                      <a:gd name="connsiteY0" fmla="*/ 0 h 44357"/>
                      <a:gd name="connsiteX1" fmla="*/ 77043 w 77043"/>
                      <a:gd name="connsiteY1" fmla="*/ 21945 h 44357"/>
                      <a:gd name="connsiteX2" fmla="*/ 37821 w 77043"/>
                      <a:gd name="connsiteY2" fmla="*/ 44358 h 44357"/>
                      <a:gd name="connsiteX3" fmla="*/ 0 w 77043"/>
                      <a:gd name="connsiteY3" fmla="*/ 22879 h 443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7043" h="44357">
                        <a:moveTo>
                          <a:pt x="39222" y="0"/>
                        </a:moveTo>
                        <a:lnTo>
                          <a:pt x="77043" y="21945"/>
                        </a:lnTo>
                        <a:lnTo>
                          <a:pt x="37821" y="44358"/>
                        </a:lnTo>
                        <a:lnTo>
                          <a:pt x="0" y="22879"/>
                        </a:lnTo>
                        <a:close/>
                      </a:path>
                    </a:pathLst>
                  </a:custGeom>
                  <a:solidFill>
                    <a:srgbClr val="0C2F4B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426" name="Graphic 2">
                    <a:extLst>
                      <a:ext uri="{FF2B5EF4-FFF2-40B4-BE49-F238E27FC236}">
                        <a16:creationId xmlns:a16="http://schemas.microsoft.com/office/drawing/2014/main" id="{84E6EDC5-A028-4258-A425-88D22B4AA626}"/>
                      </a:ext>
                    </a:extLst>
                  </p:cNvPr>
                  <p:cNvSpPr/>
                  <p:nvPr/>
                </p:nvSpPr>
                <p:spPr>
                  <a:xfrm>
                    <a:off x="2652771" y="3781997"/>
                    <a:ext cx="76576" cy="44357"/>
                  </a:xfrm>
                  <a:custGeom>
                    <a:avLst/>
                    <a:gdLst>
                      <a:gd name="connsiteX0" fmla="*/ 39222 w 76576"/>
                      <a:gd name="connsiteY0" fmla="*/ 0 h 44357"/>
                      <a:gd name="connsiteX1" fmla="*/ 76576 w 76576"/>
                      <a:gd name="connsiteY1" fmla="*/ 21945 h 44357"/>
                      <a:gd name="connsiteX2" fmla="*/ 37354 w 76576"/>
                      <a:gd name="connsiteY2" fmla="*/ 44358 h 44357"/>
                      <a:gd name="connsiteX3" fmla="*/ 0 w 76576"/>
                      <a:gd name="connsiteY3" fmla="*/ 22413 h 443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6576" h="44357">
                        <a:moveTo>
                          <a:pt x="39222" y="0"/>
                        </a:moveTo>
                        <a:lnTo>
                          <a:pt x="76576" y="21945"/>
                        </a:lnTo>
                        <a:lnTo>
                          <a:pt x="37354" y="44358"/>
                        </a:lnTo>
                        <a:lnTo>
                          <a:pt x="0" y="22413"/>
                        </a:lnTo>
                        <a:close/>
                      </a:path>
                    </a:pathLst>
                  </a:custGeom>
                  <a:solidFill>
                    <a:srgbClr val="0C2F4B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427" name="Graphic 2">
                    <a:extLst>
                      <a:ext uri="{FF2B5EF4-FFF2-40B4-BE49-F238E27FC236}">
                        <a16:creationId xmlns:a16="http://schemas.microsoft.com/office/drawing/2014/main" id="{EB7D1E23-2A3C-4F8D-8DF1-B7C19A87FC3B}"/>
                      </a:ext>
                    </a:extLst>
                  </p:cNvPr>
                  <p:cNvSpPr/>
                  <p:nvPr/>
                </p:nvSpPr>
                <p:spPr>
                  <a:xfrm>
                    <a:off x="2821799" y="3790868"/>
                    <a:ext cx="76576" cy="44358"/>
                  </a:xfrm>
                  <a:custGeom>
                    <a:avLst/>
                    <a:gdLst>
                      <a:gd name="connsiteX0" fmla="*/ 39222 w 76576"/>
                      <a:gd name="connsiteY0" fmla="*/ 0 h 44358"/>
                      <a:gd name="connsiteX1" fmla="*/ 76576 w 76576"/>
                      <a:gd name="connsiteY1" fmla="*/ 21946 h 44358"/>
                      <a:gd name="connsiteX2" fmla="*/ 37821 w 76576"/>
                      <a:gd name="connsiteY2" fmla="*/ 44358 h 44358"/>
                      <a:gd name="connsiteX3" fmla="*/ 0 w 76576"/>
                      <a:gd name="connsiteY3" fmla="*/ 22413 h 443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6576" h="44358">
                        <a:moveTo>
                          <a:pt x="39222" y="0"/>
                        </a:moveTo>
                        <a:lnTo>
                          <a:pt x="76576" y="21946"/>
                        </a:lnTo>
                        <a:lnTo>
                          <a:pt x="37821" y="44358"/>
                        </a:lnTo>
                        <a:lnTo>
                          <a:pt x="0" y="22413"/>
                        </a:lnTo>
                        <a:close/>
                      </a:path>
                    </a:pathLst>
                  </a:custGeom>
                  <a:solidFill>
                    <a:srgbClr val="0C2F4B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428" name="Graphic 2">
                    <a:extLst>
                      <a:ext uri="{FF2B5EF4-FFF2-40B4-BE49-F238E27FC236}">
                        <a16:creationId xmlns:a16="http://schemas.microsoft.com/office/drawing/2014/main" id="{FDD06A17-F4BE-4214-A34E-C9661DCDDF47}"/>
                      </a:ext>
                    </a:extLst>
                  </p:cNvPr>
                  <p:cNvSpPr/>
                  <p:nvPr/>
                </p:nvSpPr>
                <p:spPr>
                  <a:xfrm>
                    <a:off x="2992228" y="3722230"/>
                    <a:ext cx="209183" cy="121401"/>
                  </a:xfrm>
                  <a:custGeom>
                    <a:avLst/>
                    <a:gdLst>
                      <a:gd name="connsiteX0" fmla="*/ 171362 w 209183"/>
                      <a:gd name="connsiteY0" fmla="*/ 0 h 121401"/>
                      <a:gd name="connsiteX1" fmla="*/ 209184 w 209183"/>
                      <a:gd name="connsiteY1" fmla="*/ 21946 h 121401"/>
                      <a:gd name="connsiteX2" fmla="*/ 37354 w 209183"/>
                      <a:gd name="connsiteY2" fmla="*/ 121401 h 121401"/>
                      <a:gd name="connsiteX3" fmla="*/ 0 w 209183"/>
                      <a:gd name="connsiteY3" fmla="*/ 99922 h 1214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09183" h="121401">
                        <a:moveTo>
                          <a:pt x="171362" y="0"/>
                        </a:moveTo>
                        <a:lnTo>
                          <a:pt x="209184" y="21946"/>
                        </a:lnTo>
                        <a:lnTo>
                          <a:pt x="37354" y="121401"/>
                        </a:lnTo>
                        <a:lnTo>
                          <a:pt x="0" y="99922"/>
                        </a:lnTo>
                        <a:close/>
                      </a:path>
                    </a:pathLst>
                  </a:custGeom>
                  <a:solidFill>
                    <a:srgbClr val="0C2F4B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429" name="Graphic 2">
                    <a:extLst>
                      <a:ext uri="{FF2B5EF4-FFF2-40B4-BE49-F238E27FC236}">
                        <a16:creationId xmlns:a16="http://schemas.microsoft.com/office/drawing/2014/main" id="{4568D62C-9A4A-4DC3-8831-5F64EC5407C4}"/>
                      </a:ext>
                    </a:extLst>
                  </p:cNvPr>
                  <p:cNvSpPr/>
                  <p:nvPr/>
                </p:nvSpPr>
                <p:spPr>
                  <a:xfrm>
                    <a:off x="2892772" y="3803008"/>
                    <a:ext cx="77043" cy="44358"/>
                  </a:xfrm>
                  <a:custGeom>
                    <a:avLst/>
                    <a:gdLst>
                      <a:gd name="connsiteX0" fmla="*/ 39222 w 77043"/>
                      <a:gd name="connsiteY0" fmla="*/ 0 h 44358"/>
                      <a:gd name="connsiteX1" fmla="*/ 77043 w 77043"/>
                      <a:gd name="connsiteY1" fmla="*/ 21946 h 44358"/>
                      <a:gd name="connsiteX2" fmla="*/ 37821 w 77043"/>
                      <a:gd name="connsiteY2" fmla="*/ 44358 h 44358"/>
                      <a:gd name="connsiteX3" fmla="*/ 0 w 77043"/>
                      <a:gd name="connsiteY3" fmla="*/ 22880 h 443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7043" h="44358">
                        <a:moveTo>
                          <a:pt x="39222" y="0"/>
                        </a:moveTo>
                        <a:lnTo>
                          <a:pt x="77043" y="21946"/>
                        </a:lnTo>
                        <a:lnTo>
                          <a:pt x="37821" y="44358"/>
                        </a:lnTo>
                        <a:lnTo>
                          <a:pt x="0" y="22880"/>
                        </a:lnTo>
                        <a:close/>
                      </a:path>
                    </a:pathLst>
                  </a:custGeom>
                  <a:solidFill>
                    <a:srgbClr val="0C2F4B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430" name="Graphic 2">
                    <a:extLst>
                      <a:ext uri="{FF2B5EF4-FFF2-40B4-BE49-F238E27FC236}">
                        <a16:creationId xmlns:a16="http://schemas.microsoft.com/office/drawing/2014/main" id="{D3934AA0-483C-47F6-816B-C17D8B275767}"/>
                      </a:ext>
                    </a:extLst>
                  </p:cNvPr>
                  <p:cNvSpPr/>
                  <p:nvPr/>
                </p:nvSpPr>
                <p:spPr>
                  <a:xfrm>
                    <a:off x="2698997" y="3775460"/>
                    <a:ext cx="134008" cy="77510"/>
                  </a:xfrm>
                  <a:custGeom>
                    <a:avLst/>
                    <a:gdLst>
                      <a:gd name="connsiteX0" fmla="*/ 96187 w 134008"/>
                      <a:gd name="connsiteY0" fmla="*/ 0 h 77510"/>
                      <a:gd name="connsiteX1" fmla="*/ 134008 w 134008"/>
                      <a:gd name="connsiteY1" fmla="*/ 21946 h 77510"/>
                      <a:gd name="connsiteX2" fmla="*/ 37354 w 134008"/>
                      <a:gd name="connsiteY2" fmla="*/ 77510 h 77510"/>
                      <a:gd name="connsiteX3" fmla="*/ 0 w 134008"/>
                      <a:gd name="connsiteY3" fmla="*/ 56031 h 775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4008" h="77510">
                        <a:moveTo>
                          <a:pt x="96187" y="0"/>
                        </a:moveTo>
                        <a:lnTo>
                          <a:pt x="134008" y="21946"/>
                        </a:lnTo>
                        <a:lnTo>
                          <a:pt x="37354" y="77510"/>
                        </a:lnTo>
                        <a:lnTo>
                          <a:pt x="0" y="56031"/>
                        </a:lnTo>
                        <a:close/>
                      </a:path>
                    </a:pathLst>
                  </a:custGeom>
                  <a:solidFill>
                    <a:srgbClr val="0C2F4B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431" name="Graphic 2">
                    <a:extLst>
                      <a:ext uri="{FF2B5EF4-FFF2-40B4-BE49-F238E27FC236}">
                        <a16:creationId xmlns:a16="http://schemas.microsoft.com/office/drawing/2014/main" id="{6CAFB78E-D2F3-4828-9765-B1234FDDF962}"/>
                      </a:ext>
                    </a:extLst>
                  </p:cNvPr>
                  <p:cNvSpPr/>
                  <p:nvPr/>
                </p:nvSpPr>
                <p:spPr>
                  <a:xfrm>
                    <a:off x="2745223" y="3816549"/>
                    <a:ext cx="109261" cy="63502"/>
                  </a:xfrm>
                  <a:custGeom>
                    <a:avLst/>
                    <a:gdLst>
                      <a:gd name="connsiteX0" fmla="*/ 71440 w 109261"/>
                      <a:gd name="connsiteY0" fmla="*/ 0 h 63502"/>
                      <a:gd name="connsiteX1" fmla="*/ 109261 w 109261"/>
                      <a:gd name="connsiteY1" fmla="*/ 21946 h 63502"/>
                      <a:gd name="connsiteX2" fmla="*/ 37354 w 109261"/>
                      <a:gd name="connsiteY2" fmla="*/ 63502 h 63502"/>
                      <a:gd name="connsiteX3" fmla="*/ 0 w 109261"/>
                      <a:gd name="connsiteY3" fmla="*/ 41557 h 635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09261" h="63502">
                        <a:moveTo>
                          <a:pt x="71440" y="0"/>
                        </a:moveTo>
                        <a:lnTo>
                          <a:pt x="109261" y="21946"/>
                        </a:lnTo>
                        <a:lnTo>
                          <a:pt x="37354" y="63502"/>
                        </a:lnTo>
                        <a:lnTo>
                          <a:pt x="0" y="41557"/>
                        </a:lnTo>
                        <a:close/>
                      </a:path>
                    </a:pathLst>
                  </a:custGeom>
                  <a:solidFill>
                    <a:srgbClr val="0C2F4B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432" name="Graphic 2">
                    <a:extLst>
                      <a:ext uri="{FF2B5EF4-FFF2-40B4-BE49-F238E27FC236}">
                        <a16:creationId xmlns:a16="http://schemas.microsoft.com/office/drawing/2014/main" id="{F75E0393-70BE-415A-9ABE-4B8D069AE8D3}"/>
                      </a:ext>
                    </a:extLst>
                  </p:cNvPr>
                  <p:cNvSpPr/>
                  <p:nvPr/>
                </p:nvSpPr>
                <p:spPr>
                  <a:xfrm>
                    <a:off x="2925457" y="3825421"/>
                    <a:ext cx="98521" cy="56965"/>
                  </a:xfrm>
                  <a:custGeom>
                    <a:avLst/>
                    <a:gdLst>
                      <a:gd name="connsiteX0" fmla="*/ 61168 w 98521"/>
                      <a:gd name="connsiteY0" fmla="*/ 0 h 56965"/>
                      <a:gd name="connsiteX1" fmla="*/ 98522 w 98521"/>
                      <a:gd name="connsiteY1" fmla="*/ 21479 h 56965"/>
                      <a:gd name="connsiteX2" fmla="*/ 37821 w 98521"/>
                      <a:gd name="connsiteY2" fmla="*/ 56965 h 56965"/>
                      <a:gd name="connsiteX3" fmla="*/ 0 w 98521"/>
                      <a:gd name="connsiteY3" fmla="*/ 35486 h 569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98521" h="56965">
                        <a:moveTo>
                          <a:pt x="61168" y="0"/>
                        </a:moveTo>
                        <a:lnTo>
                          <a:pt x="98522" y="21479"/>
                        </a:lnTo>
                        <a:lnTo>
                          <a:pt x="37821" y="56965"/>
                        </a:lnTo>
                        <a:lnTo>
                          <a:pt x="0" y="35486"/>
                        </a:lnTo>
                        <a:close/>
                      </a:path>
                    </a:pathLst>
                  </a:custGeom>
                  <a:solidFill>
                    <a:srgbClr val="0C2F4B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433" name="Graphic 2">
                    <a:extLst>
                      <a:ext uri="{FF2B5EF4-FFF2-40B4-BE49-F238E27FC236}">
                        <a16:creationId xmlns:a16="http://schemas.microsoft.com/office/drawing/2014/main" id="{562B700A-6F1D-468F-AFFE-7B65043D1471}"/>
                      </a:ext>
                    </a:extLst>
                  </p:cNvPr>
                  <p:cNvSpPr/>
                  <p:nvPr/>
                </p:nvSpPr>
                <p:spPr>
                  <a:xfrm>
                    <a:off x="2790982" y="3828690"/>
                    <a:ext cx="134008" cy="77976"/>
                  </a:xfrm>
                  <a:custGeom>
                    <a:avLst/>
                    <a:gdLst>
                      <a:gd name="connsiteX0" fmla="*/ 96654 w 134008"/>
                      <a:gd name="connsiteY0" fmla="*/ 0 h 77976"/>
                      <a:gd name="connsiteX1" fmla="*/ 134008 w 134008"/>
                      <a:gd name="connsiteY1" fmla="*/ 21945 h 77976"/>
                      <a:gd name="connsiteX2" fmla="*/ 37821 w 134008"/>
                      <a:gd name="connsiteY2" fmla="*/ 77977 h 77976"/>
                      <a:gd name="connsiteX3" fmla="*/ 0 w 134008"/>
                      <a:gd name="connsiteY3" fmla="*/ 56031 h 779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4008" h="77976">
                        <a:moveTo>
                          <a:pt x="96654" y="0"/>
                        </a:moveTo>
                        <a:lnTo>
                          <a:pt x="134008" y="21945"/>
                        </a:lnTo>
                        <a:lnTo>
                          <a:pt x="37821" y="77977"/>
                        </a:lnTo>
                        <a:lnTo>
                          <a:pt x="0" y="56031"/>
                        </a:lnTo>
                        <a:close/>
                      </a:path>
                    </a:pathLst>
                  </a:custGeom>
                  <a:solidFill>
                    <a:srgbClr val="0C2F4B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434" name="Graphic 2">
                    <a:extLst>
                      <a:ext uri="{FF2B5EF4-FFF2-40B4-BE49-F238E27FC236}">
                        <a16:creationId xmlns:a16="http://schemas.microsoft.com/office/drawing/2014/main" id="{11AAF572-302D-47F0-8EB3-D9D5152E62C3}"/>
                      </a:ext>
                    </a:extLst>
                  </p:cNvPr>
                  <p:cNvSpPr/>
                  <p:nvPr/>
                </p:nvSpPr>
                <p:spPr>
                  <a:xfrm>
                    <a:off x="2837675" y="3863709"/>
                    <a:ext cx="120467" cy="69572"/>
                  </a:xfrm>
                  <a:custGeom>
                    <a:avLst/>
                    <a:gdLst>
                      <a:gd name="connsiteX0" fmla="*/ 82646 w 120467"/>
                      <a:gd name="connsiteY0" fmla="*/ 0 h 69572"/>
                      <a:gd name="connsiteX1" fmla="*/ 120467 w 120467"/>
                      <a:gd name="connsiteY1" fmla="*/ 21479 h 69572"/>
                      <a:gd name="connsiteX2" fmla="*/ 37821 w 120467"/>
                      <a:gd name="connsiteY2" fmla="*/ 69572 h 69572"/>
                      <a:gd name="connsiteX3" fmla="*/ 0 w 120467"/>
                      <a:gd name="connsiteY3" fmla="*/ 48093 h 695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20467" h="69572">
                        <a:moveTo>
                          <a:pt x="82646" y="0"/>
                        </a:moveTo>
                        <a:lnTo>
                          <a:pt x="120467" y="21479"/>
                        </a:lnTo>
                        <a:lnTo>
                          <a:pt x="37821" y="69572"/>
                        </a:lnTo>
                        <a:lnTo>
                          <a:pt x="0" y="48093"/>
                        </a:lnTo>
                        <a:close/>
                      </a:path>
                    </a:pathLst>
                  </a:custGeom>
                  <a:solidFill>
                    <a:srgbClr val="0C2F4B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  <p:sp>
                <p:nvSpPr>
                  <p:cNvPr id="435" name="Graphic 2">
                    <a:extLst>
                      <a:ext uri="{FF2B5EF4-FFF2-40B4-BE49-F238E27FC236}">
                        <a16:creationId xmlns:a16="http://schemas.microsoft.com/office/drawing/2014/main" id="{5A3EAB4F-BC40-44E1-80F5-AEBE33341BE0}"/>
                      </a:ext>
                    </a:extLst>
                  </p:cNvPr>
                  <p:cNvSpPr/>
                  <p:nvPr/>
                </p:nvSpPr>
                <p:spPr>
                  <a:xfrm>
                    <a:off x="2773239" y="3569545"/>
                    <a:ext cx="196576" cy="113463"/>
                  </a:xfrm>
                  <a:custGeom>
                    <a:avLst/>
                    <a:gdLst>
                      <a:gd name="connsiteX0" fmla="*/ 140545 w 196576"/>
                      <a:gd name="connsiteY0" fmla="*/ 0 h 113463"/>
                      <a:gd name="connsiteX1" fmla="*/ 196577 w 196576"/>
                      <a:gd name="connsiteY1" fmla="*/ 32218 h 113463"/>
                      <a:gd name="connsiteX2" fmla="*/ 55564 w 196576"/>
                      <a:gd name="connsiteY2" fmla="*/ 113463 h 113463"/>
                      <a:gd name="connsiteX3" fmla="*/ 0 w 196576"/>
                      <a:gd name="connsiteY3" fmla="*/ 81245 h 11346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96576" h="113463">
                        <a:moveTo>
                          <a:pt x="140545" y="0"/>
                        </a:moveTo>
                        <a:lnTo>
                          <a:pt x="196577" y="32218"/>
                        </a:lnTo>
                        <a:lnTo>
                          <a:pt x="55564" y="113463"/>
                        </a:lnTo>
                        <a:lnTo>
                          <a:pt x="0" y="81245"/>
                        </a:lnTo>
                        <a:close/>
                      </a:path>
                    </a:pathLst>
                  </a:custGeom>
                  <a:solidFill>
                    <a:srgbClr val="0C2F4B"/>
                  </a:solidFill>
                  <a:ln w="4665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ID"/>
                  </a:p>
                </p:txBody>
              </p:sp>
            </p:grpSp>
          </p:grpSp>
          <p:grpSp>
            <p:nvGrpSpPr>
              <p:cNvPr id="378" name="Graphic 2">
                <a:extLst>
                  <a:ext uri="{FF2B5EF4-FFF2-40B4-BE49-F238E27FC236}">
                    <a16:creationId xmlns:a16="http://schemas.microsoft.com/office/drawing/2014/main" id="{F51C873F-D1A9-44B1-B8BF-99D49812918B}"/>
                  </a:ext>
                </a:extLst>
              </p:cNvPr>
              <p:cNvGrpSpPr/>
              <p:nvPr/>
            </p:nvGrpSpPr>
            <p:grpSpPr>
              <a:xfrm>
                <a:off x="2180589" y="2743999"/>
                <a:ext cx="869074" cy="1044664"/>
                <a:chOff x="2180589" y="2743999"/>
                <a:chExt cx="869074" cy="1044664"/>
              </a:xfrm>
              <a:solidFill>
                <a:srgbClr val="E5BD99"/>
              </a:solidFill>
            </p:grpSpPr>
            <p:sp>
              <p:nvSpPr>
                <p:cNvPr id="386" name="Graphic 2">
                  <a:extLst>
                    <a:ext uri="{FF2B5EF4-FFF2-40B4-BE49-F238E27FC236}">
                      <a16:creationId xmlns:a16="http://schemas.microsoft.com/office/drawing/2014/main" id="{22B27AE9-7E5B-4A0A-8D13-062ED4F26AB0}"/>
                    </a:ext>
                  </a:extLst>
                </p:cNvPr>
                <p:cNvSpPr/>
                <p:nvPr/>
              </p:nvSpPr>
              <p:spPr>
                <a:xfrm>
                  <a:off x="2180669" y="2743999"/>
                  <a:ext cx="181245" cy="684551"/>
                </a:xfrm>
                <a:custGeom>
                  <a:avLst/>
                  <a:gdLst>
                    <a:gd name="connsiteX0" fmla="*/ 39 w 181245"/>
                    <a:gd name="connsiteY0" fmla="*/ 598152 h 684551"/>
                    <a:gd name="connsiteX1" fmla="*/ 81751 w 181245"/>
                    <a:gd name="connsiteY1" fmla="*/ 684534 h 684551"/>
                    <a:gd name="connsiteX2" fmla="*/ 81751 w 181245"/>
                    <a:gd name="connsiteY2" fmla="*/ 684534 h 684551"/>
                    <a:gd name="connsiteX3" fmla="*/ 168132 w 181245"/>
                    <a:gd name="connsiteY3" fmla="*/ 602354 h 684551"/>
                    <a:gd name="connsiteX4" fmla="*/ 181206 w 181245"/>
                    <a:gd name="connsiteY4" fmla="*/ 86399 h 684551"/>
                    <a:gd name="connsiteX5" fmla="*/ 99494 w 181245"/>
                    <a:gd name="connsiteY5" fmla="*/ 18 h 684551"/>
                    <a:gd name="connsiteX6" fmla="*/ 99494 w 181245"/>
                    <a:gd name="connsiteY6" fmla="*/ 18 h 684551"/>
                    <a:gd name="connsiteX7" fmla="*/ 13579 w 181245"/>
                    <a:gd name="connsiteY7" fmla="*/ 82197 h 684551"/>
                    <a:gd name="connsiteX8" fmla="*/ 39 w 181245"/>
                    <a:gd name="connsiteY8" fmla="*/ 598152 h 6845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81245" h="684551">
                      <a:moveTo>
                        <a:pt x="39" y="598152"/>
                      </a:moveTo>
                      <a:cubicBezTo>
                        <a:pt x="-1362" y="644845"/>
                        <a:pt x="35525" y="683600"/>
                        <a:pt x="81751" y="684534"/>
                      </a:cubicBezTo>
                      <a:lnTo>
                        <a:pt x="81751" y="684534"/>
                      </a:lnTo>
                      <a:cubicBezTo>
                        <a:pt x="127977" y="685467"/>
                        <a:pt x="166732" y="649047"/>
                        <a:pt x="168132" y="602354"/>
                      </a:cubicBezTo>
                      <a:lnTo>
                        <a:pt x="181206" y="86399"/>
                      </a:lnTo>
                      <a:cubicBezTo>
                        <a:pt x="182607" y="39706"/>
                        <a:pt x="145720" y="951"/>
                        <a:pt x="99494" y="18"/>
                      </a:cubicBezTo>
                      <a:lnTo>
                        <a:pt x="99494" y="18"/>
                      </a:lnTo>
                      <a:cubicBezTo>
                        <a:pt x="53268" y="-916"/>
                        <a:pt x="14513" y="35504"/>
                        <a:pt x="13579" y="82197"/>
                      </a:cubicBezTo>
                      <a:lnTo>
                        <a:pt x="39" y="598152"/>
                      </a:lnTo>
                      <a:close/>
                    </a:path>
                  </a:pathLst>
                </a:custGeom>
                <a:solidFill>
                  <a:srgbClr val="E5BD99"/>
                </a:solidFill>
                <a:ln w="4665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ID"/>
                </a:p>
              </p:txBody>
            </p:sp>
            <p:sp>
              <p:nvSpPr>
                <p:cNvPr id="387" name="Graphic 2">
                  <a:extLst>
                    <a:ext uri="{FF2B5EF4-FFF2-40B4-BE49-F238E27FC236}">
                      <a16:creationId xmlns:a16="http://schemas.microsoft.com/office/drawing/2014/main" id="{CED495D8-87CD-45BC-954A-064F1FAB341C}"/>
                    </a:ext>
                  </a:extLst>
                </p:cNvPr>
                <p:cNvSpPr/>
                <p:nvPr/>
              </p:nvSpPr>
              <p:spPr>
                <a:xfrm>
                  <a:off x="2180669" y="2743999"/>
                  <a:ext cx="181245" cy="684551"/>
                </a:xfrm>
                <a:custGeom>
                  <a:avLst/>
                  <a:gdLst>
                    <a:gd name="connsiteX0" fmla="*/ 39 w 181245"/>
                    <a:gd name="connsiteY0" fmla="*/ 598152 h 684551"/>
                    <a:gd name="connsiteX1" fmla="*/ 81751 w 181245"/>
                    <a:gd name="connsiteY1" fmla="*/ 684534 h 684551"/>
                    <a:gd name="connsiteX2" fmla="*/ 81751 w 181245"/>
                    <a:gd name="connsiteY2" fmla="*/ 684534 h 684551"/>
                    <a:gd name="connsiteX3" fmla="*/ 168132 w 181245"/>
                    <a:gd name="connsiteY3" fmla="*/ 602354 h 684551"/>
                    <a:gd name="connsiteX4" fmla="*/ 181206 w 181245"/>
                    <a:gd name="connsiteY4" fmla="*/ 86399 h 684551"/>
                    <a:gd name="connsiteX5" fmla="*/ 99494 w 181245"/>
                    <a:gd name="connsiteY5" fmla="*/ 18 h 684551"/>
                    <a:gd name="connsiteX6" fmla="*/ 99494 w 181245"/>
                    <a:gd name="connsiteY6" fmla="*/ 18 h 684551"/>
                    <a:gd name="connsiteX7" fmla="*/ 13579 w 181245"/>
                    <a:gd name="connsiteY7" fmla="*/ 82197 h 684551"/>
                    <a:gd name="connsiteX8" fmla="*/ 39 w 181245"/>
                    <a:gd name="connsiteY8" fmla="*/ 598152 h 6845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81245" h="684551">
                      <a:moveTo>
                        <a:pt x="39" y="598152"/>
                      </a:moveTo>
                      <a:cubicBezTo>
                        <a:pt x="-1362" y="644845"/>
                        <a:pt x="35525" y="683600"/>
                        <a:pt x="81751" y="684534"/>
                      </a:cubicBezTo>
                      <a:lnTo>
                        <a:pt x="81751" y="684534"/>
                      </a:lnTo>
                      <a:cubicBezTo>
                        <a:pt x="127977" y="685467"/>
                        <a:pt x="166732" y="649047"/>
                        <a:pt x="168132" y="602354"/>
                      </a:cubicBezTo>
                      <a:lnTo>
                        <a:pt x="181206" y="86399"/>
                      </a:lnTo>
                      <a:cubicBezTo>
                        <a:pt x="182607" y="39706"/>
                        <a:pt x="145720" y="951"/>
                        <a:pt x="99494" y="18"/>
                      </a:cubicBezTo>
                      <a:lnTo>
                        <a:pt x="99494" y="18"/>
                      </a:lnTo>
                      <a:cubicBezTo>
                        <a:pt x="53268" y="-916"/>
                        <a:pt x="14513" y="35504"/>
                        <a:pt x="13579" y="82197"/>
                      </a:cubicBezTo>
                      <a:lnTo>
                        <a:pt x="39" y="598152"/>
                      </a:lnTo>
                      <a:close/>
                    </a:path>
                  </a:pathLst>
                </a:custGeom>
                <a:solidFill>
                  <a:srgbClr val="E5BD99"/>
                </a:solidFill>
                <a:ln w="4665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ID"/>
                </a:p>
              </p:txBody>
            </p:sp>
            <p:sp>
              <p:nvSpPr>
                <p:cNvPr id="388" name="Graphic 2">
                  <a:extLst>
                    <a:ext uri="{FF2B5EF4-FFF2-40B4-BE49-F238E27FC236}">
                      <a16:creationId xmlns:a16="http://schemas.microsoft.com/office/drawing/2014/main" id="{8463E1E7-D1AF-47D2-87EE-72109987BC69}"/>
                    </a:ext>
                  </a:extLst>
                </p:cNvPr>
                <p:cNvSpPr/>
                <p:nvPr/>
              </p:nvSpPr>
              <p:spPr>
                <a:xfrm>
                  <a:off x="2180589" y="3262313"/>
                  <a:ext cx="624697" cy="526349"/>
                </a:xfrm>
                <a:custGeom>
                  <a:avLst/>
                  <a:gdLst>
                    <a:gd name="connsiteX0" fmla="*/ 17395 w 624697"/>
                    <a:gd name="connsiteY0" fmla="*/ 32211 h 526349"/>
                    <a:gd name="connsiteX1" fmla="*/ 133660 w 624697"/>
                    <a:gd name="connsiteY1" fmla="*/ 17736 h 526349"/>
                    <a:gd name="connsiteX2" fmla="*/ 474517 w 624697"/>
                    <a:gd name="connsiteY2" fmla="*/ 323107 h 526349"/>
                    <a:gd name="connsiteX3" fmla="*/ 474517 w 624697"/>
                    <a:gd name="connsiteY3" fmla="*/ 323107 h 526349"/>
                    <a:gd name="connsiteX4" fmla="*/ 533817 w 624697"/>
                    <a:gd name="connsiteY4" fmla="*/ 347854 h 526349"/>
                    <a:gd name="connsiteX5" fmla="*/ 619265 w 624697"/>
                    <a:gd name="connsiteY5" fmla="*/ 430967 h 526349"/>
                    <a:gd name="connsiteX6" fmla="*/ 574907 w 624697"/>
                    <a:gd name="connsiteY6" fmla="*/ 526221 h 526349"/>
                    <a:gd name="connsiteX7" fmla="*/ 414751 w 624697"/>
                    <a:gd name="connsiteY7" fmla="*/ 407621 h 526349"/>
                    <a:gd name="connsiteX8" fmla="*/ 31870 w 624697"/>
                    <a:gd name="connsiteY8" fmla="*/ 148943 h 526349"/>
                    <a:gd name="connsiteX9" fmla="*/ 17395 w 624697"/>
                    <a:gd name="connsiteY9" fmla="*/ 32211 h 5263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24697" h="526349">
                      <a:moveTo>
                        <a:pt x="17395" y="32211"/>
                      </a:moveTo>
                      <a:cubicBezTo>
                        <a:pt x="45411" y="-4209"/>
                        <a:pt x="97707" y="-10746"/>
                        <a:pt x="133660" y="17736"/>
                      </a:cubicBezTo>
                      <a:lnTo>
                        <a:pt x="474517" y="323107"/>
                      </a:lnTo>
                      <a:lnTo>
                        <a:pt x="474517" y="323107"/>
                      </a:lnTo>
                      <a:cubicBezTo>
                        <a:pt x="488992" y="329644"/>
                        <a:pt x="514673" y="336648"/>
                        <a:pt x="533817" y="347854"/>
                      </a:cubicBezTo>
                      <a:cubicBezTo>
                        <a:pt x="574440" y="371667"/>
                        <a:pt x="610860" y="397348"/>
                        <a:pt x="619265" y="430967"/>
                      </a:cubicBezTo>
                      <a:cubicBezTo>
                        <a:pt x="637475" y="502874"/>
                        <a:pt x="606658" y="523419"/>
                        <a:pt x="574907" y="526221"/>
                      </a:cubicBezTo>
                      <a:cubicBezTo>
                        <a:pt x="526346" y="530890"/>
                        <a:pt x="414751" y="407621"/>
                        <a:pt x="414751" y="407621"/>
                      </a:cubicBezTo>
                      <a:lnTo>
                        <a:pt x="31870" y="148943"/>
                      </a:lnTo>
                      <a:cubicBezTo>
                        <a:pt x="-4083" y="120460"/>
                        <a:pt x="-10620" y="68631"/>
                        <a:pt x="17395" y="32211"/>
                      </a:cubicBezTo>
                      <a:close/>
                    </a:path>
                  </a:pathLst>
                </a:custGeom>
                <a:solidFill>
                  <a:srgbClr val="E5BD99"/>
                </a:solidFill>
                <a:ln w="4665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ID"/>
                </a:p>
              </p:txBody>
            </p:sp>
            <p:sp>
              <p:nvSpPr>
                <p:cNvPr id="389" name="Graphic 2">
                  <a:extLst>
                    <a:ext uri="{FF2B5EF4-FFF2-40B4-BE49-F238E27FC236}">
                      <a16:creationId xmlns:a16="http://schemas.microsoft.com/office/drawing/2014/main" id="{A63EC6D9-C166-4D0F-96B3-8CFDEC42E58D}"/>
                    </a:ext>
                  </a:extLst>
                </p:cNvPr>
                <p:cNvSpPr/>
                <p:nvPr/>
              </p:nvSpPr>
              <p:spPr>
                <a:xfrm>
                  <a:off x="2828522" y="3026493"/>
                  <a:ext cx="221140" cy="633903"/>
                </a:xfrm>
                <a:custGeom>
                  <a:avLst/>
                  <a:gdLst>
                    <a:gd name="connsiteX0" fmla="*/ 63783 w 221140"/>
                    <a:gd name="connsiteY0" fmla="*/ 2350 h 633903"/>
                    <a:gd name="connsiteX1" fmla="*/ 163705 w 221140"/>
                    <a:gd name="connsiteY1" fmla="*/ 63050 h 633903"/>
                    <a:gd name="connsiteX2" fmla="*/ 213667 w 221140"/>
                    <a:gd name="connsiteY2" fmla="*/ 471612 h 633903"/>
                    <a:gd name="connsiteX3" fmla="*/ 208997 w 221140"/>
                    <a:gd name="connsiteY3" fmla="*/ 589744 h 633903"/>
                    <a:gd name="connsiteX4" fmla="*/ 120281 w 221140"/>
                    <a:gd name="connsiteY4" fmla="*/ 617293 h 633903"/>
                    <a:gd name="connsiteX5" fmla="*/ 87596 w 221140"/>
                    <a:gd name="connsiteY5" fmla="*/ 419316 h 633903"/>
                    <a:gd name="connsiteX6" fmla="*/ 2148 w 221140"/>
                    <a:gd name="connsiteY6" fmla="*/ 101805 h 633903"/>
                    <a:gd name="connsiteX7" fmla="*/ 63783 w 221140"/>
                    <a:gd name="connsiteY7" fmla="*/ 2350 h 6339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21140" h="633903">
                      <a:moveTo>
                        <a:pt x="63783" y="2350"/>
                      </a:moveTo>
                      <a:cubicBezTo>
                        <a:pt x="108141" y="-8390"/>
                        <a:pt x="152966" y="18692"/>
                        <a:pt x="163705" y="63050"/>
                      </a:cubicBezTo>
                      <a:lnTo>
                        <a:pt x="213667" y="471612"/>
                      </a:lnTo>
                      <a:cubicBezTo>
                        <a:pt x="222538" y="514569"/>
                        <a:pt x="226274" y="562663"/>
                        <a:pt x="208997" y="589744"/>
                      </a:cubicBezTo>
                      <a:cubicBezTo>
                        <a:pt x="170709" y="649978"/>
                        <a:pt x="143627" y="637371"/>
                        <a:pt x="120281" y="617293"/>
                      </a:cubicBezTo>
                      <a:cubicBezTo>
                        <a:pt x="88530" y="589278"/>
                        <a:pt x="99736" y="477215"/>
                        <a:pt x="87596" y="419316"/>
                      </a:cubicBezTo>
                      <a:lnTo>
                        <a:pt x="2148" y="101805"/>
                      </a:lnTo>
                      <a:cubicBezTo>
                        <a:pt x="-8124" y="57914"/>
                        <a:pt x="19425" y="13089"/>
                        <a:pt x="63783" y="2350"/>
                      </a:cubicBezTo>
                      <a:close/>
                    </a:path>
                  </a:pathLst>
                </a:custGeom>
                <a:solidFill>
                  <a:srgbClr val="E5BD99"/>
                </a:solidFill>
                <a:ln w="4665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ID"/>
                </a:p>
              </p:txBody>
            </p:sp>
          </p:grpSp>
          <p:sp>
            <p:nvSpPr>
              <p:cNvPr id="379" name="Graphic 2">
                <a:extLst>
                  <a:ext uri="{FF2B5EF4-FFF2-40B4-BE49-F238E27FC236}">
                    <a16:creationId xmlns:a16="http://schemas.microsoft.com/office/drawing/2014/main" id="{449BEAC8-7880-4C49-BD7F-12D66BE963A2}"/>
                  </a:ext>
                </a:extLst>
              </p:cNvPr>
              <p:cNvSpPr/>
              <p:nvPr/>
            </p:nvSpPr>
            <p:spPr>
              <a:xfrm>
                <a:off x="2180669" y="3072690"/>
                <a:ext cx="174669" cy="355842"/>
              </a:xfrm>
              <a:custGeom>
                <a:avLst/>
                <a:gdLst>
                  <a:gd name="connsiteX0" fmla="*/ 174670 w 174669"/>
                  <a:gd name="connsiteY0" fmla="*/ 14052 h 355842"/>
                  <a:gd name="connsiteX1" fmla="*/ 174203 w 174669"/>
                  <a:gd name="connsiteY1" fmla="*/ 40200 h 355842"/>
                  <a:gd name="connsiteX2" fmla="*/ 168132 w 174669"/>
                  <a:gd name="connsiteY2" fmla="*/ 273664 h 355842"/>
                  <a:gd name="connsiteX3" fmla="*/ 83619 w 174669"/>
                  <a:gd name="connsiteY3" fmla="*/ 355843 h 355842"/>
                  <a:gd name="connsiteX4" fmla="*/ 81751 w 174669"/>
                  <a:gd name="connsiteY4" fmla="*/ 355843 h 355842"/>
                  <a:gd name="connsiteX5" fmla="*/ 39 w 174669"/>
                  <a:gd name="connsiteY5" fmla="*/ 268994 h 355842"/>
                  <a:gd name="connsiteX6" fmla="*/ 6109 w 174669"/>
                  <a:gd name="connsiteY6" fmla="*/ 36931 h 355842"/>
                  <a:gd name="connsiteX7" fmla="*/ 6576 w 174669"/>
                  <a:gd name="connsiteY7" fmla="*/ 8916 h 355842"/>
                  <a:gd name="connsiteX8" fmla="*/ 89689 w 174669"/>
                  <a:gd name="connsiteY8" fmla="*/ 44 h 355842"/>
                  <a:gd name="connsiteX9" fmla="*/ 174670 w 174669"/>
                  <a:gd name="connsiteY9" fmla="*/ 14052 h 355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4669" h="355842">
                    <a:moveTo>
                      <a:pt x="174670" y="14052"/>
                    </a:moveTo>
                    <a:lnTo>
                      <a:pt x="174203" y="40200"/>
                    </a:lnTo>
                    <a:lnTo>
                      <a:pt x="168132" y="273664"/>
                    </a:lnTo>
                    <a:cubicBezTo>
                      <a:pt x="167199" y="319890"/>
                      <a:pt x="129377" y="355843"/>
                      <a:pt x="83619" y="355843"/>
                    </a:cubicBezTo>
                    <a:lnTo>
                      <a:pt x="81751" y="355843"/>
                    </a:lnTo>
                    <a:cubicBezTo>
                      <a:pt x="35525" y="354442"/>
                      <a:pt x="-1362" y="316154"/>
                      <a:pt x="39" y="268994"/>
                    </a:cubicBezTo>
                    <a:lnTo>
                      <a:pt x="6109" y="36931"/>
                    </a:lnTo>
                    <a:lnTo>
                      <a:pt x="6576" y="8916"/>
                    </a:lnTo>
                    <a:cubicBezTo>
                      <a:pt x="24786" y="2846"/>
                      <a:pt x="55136" y="-423"/>
                      <a:pt x="89689" y="44"/>
                    </a:cubicBezTo>
                    <a:cubicBezTo>
                      <a:pt x="125642" y="1445"/>
                      <a:pt x="156926" y="6581"/>
                      <a:pt x="174670" y="14052"/>
                    </a:cubicBezTo>
                    <a:close/>
                  </a:path>
                </a:pathLst>
              </a:custGeom>
              <a:solidFill>
                <a:srgbClr val="E5BD99"/>
              </a:solidFill>
              <a:ln w="466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grpSp>
            <p:nvGrpSpPr>
              <p:cNvPr id="380" name="Graphic 2">
                <a:extLst>
                  <a:ext uri="{FF2B5EF4-FFF2-40B4-BE49-F238E27FC236}">
                    <a16:creationId xmlns:a16="http://schemas.microsoft.com/office/drawing/2014/main" id="{BA92739F-C8DA-4387-81E5-67C37820D8ED}"/>
                  </a:ext>
                </a:extLst>
              </p:cNvPr>
              <p:cNvGrpSpPr/>
              <p:nvPr/>
            </p:nvGrpSpPr>
            <p:grpSpPr>
              <a:xfrm>
                <a:off x="2823200" y="3287155"/>
                <a:ext cx="570585" cy="698543"/>
                <a:chOff x="2823200" y="3287155"/>
                <a:chExt cx="570585" cy="698543"/>
              </a:xfrm>
            </p:grpSpPr>
            <p:sp>
              <p:nvSpPr>
                <p:cNvPr id="384" name="Graphic 2">
                  <a:extLst>
                    <a:ext uri="{FF2B5EF4-FFF2-40B4-BE49-F238E27FC236}">
                      <a16:creationId xmlns:a16="http://schemas.microsoft.com/office/drawing/2014/main" id="{38353914-3F17-42A8-8C43-FA502BCC63E7}"/>
                    </a:ext>
                  </a:extLst>
                </p:cNvPr>
                <p:cNvSpPr/>
                <p:nvPr/>
              </p:nvSpPr>
              <p:spPr>
                <a:xfrm>
                  <a:off x="2823200" y="3287155"/>
                  <a:ext cx="562647" cy="697021"/>
                </a:xfrm>
                <a:custGeom>
                  <a:avLst/>
                  <a:gdLst>
                    <a:gd name="connsiteX0" fmla="*/ 559846 w 562647"/>
                    <a:gd name="connsiteY0" fmla="*/ 10637 h 697021"/>
                    <a:gd name="connsiteX1" fmla="*/ 558912 w 562647"/>
                    <a:gd name="connsiteY1" fmla="*/ 10171 h 697021"/>
                    <a:gd name="connsiteX2" fmla="*/ 551908 w 562647"/>
                    <a:gd name="connsiteY2" fmla="*/ 5968 h 697021"/>
                    <a:gd name="connsiteX3" fmla="*/ 544904 w 562647"/>
                    <a:gd name="connsiteY3" fmla="*/ 1766 h 697021"/>
                    <a:gd name="connsiteX4" fmla="*/ 527161 w 562647"/>
                    <a:gd name="connsiteY4" fmla="*/ 3634 h 697021"/>
                    <a:gd name="connsiteX5" fmla="*/ 24747 w 562647"/>
                    <a:gd name="connsiteY5" fmla="*/ 293596 h 697021"/>
                    <a:gd name="connsiteX6" fmla="*/ 0 w 562647"/>
                    <a:gd name="connsiteY6" fmla="*/ 336553 h 697021"/>
                    <a:gd name="connsiteX7" fmla="*/ 934 w 562647"/>
                    <a:gd name="connsiteY7" fmla="*/ 670873 h 697021"/>
                    <a:gd name="connsiteX8" fmla="*/ 8405 w 562647"/>
                    <a:gd name="connsiteY8" fmla="*/ 686749 h 697021"/>
                    <a:gd name="connsiteX9" fmla="*/ 26148 w 562647"/>
                    <a:gd name="connsiteY9" fmla="*/ 697021 h 697021"/>
                    <a:gd name="connsiteX10" fmla="*/ 18677 w 562647"/>
                    <a:gd name="connsiteY10" fmla="*/ 681146 h 697021"/>
                    <a:gd name="connsiteX11" fmla="*/ 17743 w 562647"/>
                    <a:gd name="connsiteY11" fmla="*/ 346825 h 697021"/>
                    <a:gd name="connsiteX12" fmla="*/ 42490 w 562647"/>
                    <a:gd name="connsiteY12" fmla="*/ 303868 h 697021"/>
                    <a:gd name="connsiteX13" fmla="*/ 544904 w 562647"/>
                    <a:gd name="connsiteY13" fmla="*/ 13906 h 697021"/>
                    <a:gd name="connsiteX14" fmla="*/ 562648 w 562647"/>
                    <a:gd name="connsiteY14" fmla="*/ 12505 h 697021"/>
                    <a:gd name="connsiteX15" fmla="*/ 559846 w 562647"/>
                    <a:gd name="connsiteY15" fmla="*/ 10637 h 6970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562647" h="697021">
                      <a:moveTo>
                        <a:pt x="559846" y="10637"/>
                      </a:moveTo>
                      <a:cubicBezTo>
                        <a:pt x="559379" y="10637"/>
                        <a:pt x="559379" y="10171"/>
                        <a:pt x="558912" y="10171"/>
                      </a:cubicBezTo>
                      <a:cubicBezTo>
                        <a:pt x="556578" y="8770"/>
                        <a:pt x="554243" y="7369"/>
                        <a:pt x="551908" y="5968"/>
                      </a:cubicBezTo>
                      <a:cubicBezTo>
                        <a:pt x="549574" y="4567"/>
                        <a:pt x="547239" y="3167"/>
                        <a:pt x="544904" y="1766"/>
                      </a:cubicBezTo>
                      <a:cubicBezTo>
                        <a:pt x="540235" y="-1036"/>
                        <a:pt x="534165" y="-569"/>
                        <a:pt x="527161" y="3634"/>
                      </a:cubicBezTo>
                      <a:lnTo>
                        <a:pt x="24747" y="293596"/>
                      </a:lnTo>
                      <a:cubicBezTo>
                        <a:pt x="11206" y="301533"/>
                        <a:pt x="0" y="320678"/>
                        <a:pt x="0" y="336553"/>
                      </a:cubicBezTo>
                      <a:lnTo>
                        <a:pt x="934" y="670873"/>
                      </a:lnTo>
                      <a:cubicBezTo>
                        <a:pt x="934" y="678811"/>
                        <a:pt x="3735" y="684414"/>
                        <a:pt x="8405" y="686749"/>
                      </a:cubicBezTo>
                      <a:cubicBezTo>
                        <a:pt x="14008" y="690017"/>
                        <a:pt x="20078" y="693753"/>
                        <a:pt x="26148" y="697021"/>
                      </a:cubicBezTo>
                      <a:cubicBezTo>
                        <a:pt x="21479" y="694220"/>
                        <a:pt x="19144" y="689083"/>
                        <a:pt x="18677" y="681146"/>
                      </a:cubicBezTo>
                      <a:lnTo>
                        <a:pt x="17743" y="346825"/>
                      </a:lnTo>
                      <a:cubicBezTo>
                        <a:pt x="17743" y="330950"/>
                        <a:pt x="28950" y="311806"/>
                        <a:pt x="42490" y="303868"/>
                      </a:cubicBezTo>
                      <a:lnTo>
                        <a:pt x="544904" y="13906"/>
                      </a:lnTo>
                      <a:cubicBezTo>
                        <a:pt x="551908" y="10171"/>
                        <a:pt x="557979" y="9704"/>
                        <a:pt x="562648" y="12505"/>
                      </a:cubicBezTo>
                      <a:cubicBezTo>
                        <a:pt x="561714" y="11571"/>
                        <a:pt x="560780" y="11104"/>
                        <a:pt x="559846" y="10637"/>
                      </a:cubicBezTo>
                      <a:close/>
                    </a:path>
                  </a:pathLst>
                </a:custGeom>
                <a:solidFill>
                  <a:srgbClr val="D1DCE6"/>
                </a:solidFill>
                <a:ln w="4665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ID"/>
                </a:p>
              </p:txBody>
            </p:sp>
            <p:sp>
              <p:nvSpPr>
                <p:cNvPr id="385" name="Graphic 2">
                  <a:extLst>
                    <a:ext uri="{FF2B5EF4-FFF2-40B4-BE49-F238E27FC236}">
                      <a16:creationId xmlns:a16="http://schemas.microsoft.com/office/drawing/2014/main" id="{154F7097-131B-4BB8-8D06-FCAB0D475974}"/>
                    </a:ext>
                  </a:extLst>
                </p:cNvPr>
                <p:cNvSpPr/>
                <p:nvPr/>
              </p:nvSpPr>
              <p:spPr>
                <a:xfrm>
                  <a:off x="2840943" y="3297671"/>
                  <a:ext cx="552842" cy="688028"/>
                </a:xfrm>
                <a:custGeom>
                  <a:avLst/>
                  <a:gdLst>
                    <a:gd name="connsiteX0" fmla="*/ 24747 w 552842"/>
                    <a:gd name="connsiteY0" fmla="*/ 293353 h 688028"/>
                    <a:gd name="connsiteX1" fmla="*/ 527161 w 552842"/>
                    <a:gd name="connsiteY1" fmla="*/ 3390 h 688028"/>
                    <a:gd name="connsiteX2" fmla="*/ 551908 w 552842"/>
                    <a:gd name="connsiteY2" fmla="*/ 17398 h 688028"/>
                    <a:gd name="connsiteX3" fmla="*/ 552842 w 552842"/>
                    <a:gd name="connsiteY3" fmla="*/ 351719 h 688028"/>
                    <a:gd name="connsiteX4" fmla="*/ 528095 w 552842"/>
                    <a:gd name="connsiteY4" fmla="*/ 394676 h 688028"/>
                    <a:gd name="connsiteX5" fmla="*/ 25681 w 552842"/>
                    <a:gd name="connsiteY5" fmla="*/ 684638 h 688028"/>
                    <a:gd name="connsiteX6" fmla="*/ 934 w 552842"/>
                    <a:gd name="connsiteY6" fmla="*/ 670630 h 688028"/>
                    <a:gd name="connsiteX7" fmla="*/ 0 w 552842"/>
                    <a:gd name="connsiteY7" fmla="*/ 336310 h 688028"/>
                    <a:gd name="connsiteX8" fmla="*/ 24747 w 552842"/>
                    <a:gd name="connsiteY8" fmla="*/ 293353 h 6880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52842" h="688028">
                      <a:moveTo>
                        <a:pt x="24747" y="293353"/>
                      </a:moveTo>
                      <a:lnTo>
                        <a:pt x="527161" y="3390"/>
                      </a:lnTo>
                      <a:cubicBezTo>
                        <a:pt x="540702" y="-4547"/>
                        <a:pt x="551908" y="1990"/>
                        <a:pt x="551908" y="17398"/>
                      </a:cubicBezTo>
                      <a:lnTo>
                        <a:pt x="552842" y="351719"/>
                      </a:lnTo>
                      <a:cubicBezTo>
                        <a:pt x="552842" y="367594"/>
                        <a:pt x="541636" y="386738"/>
                        <a:pt x="528095" y="394676"/>
                      </a:cubicBezTo>
                      <a:lnTo>
                        <a:pt x="25681" y="684638"/>
                      </a:lnTo>
                      <a:cubicBezTo>
                        <a:pt x="12140" y="692576"/>
                        <a:pt x="934" y="686039"/>
                        <a:pt x="934" y="670630"/>
                      </a:cubicBezTo>
                      <a:lnTo>
                        <a:pt x="0" y="336310"/>
                      </a:lnTo>
                      <a:cubicBezTo>
                        <a:pt x="0" y="320434"/>
                        <a:pt x="11206" y="301290"/>
                        <a:pt x="24747" y="293353"/>
                      </a:cubicBezTo>
                      <a:close/>
                    </a:path>
                  </a:pathLst>
                </a:custGeom>
                <a:solidFill>
                  <a:srgbClr val="F8F9FC"/>
                </a:solidFill>
                <a:ln w="4665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ID"/>
                </a:p>
              </p:txBody>
            </p:sp>
          </p:grpSp>
          <p:grpSp>
            <p:nvGrpSpPr>
              <p:cNvPr id="381" name="Graphic 2">
                <a:extLst>
                  <a:ext uri="{FF2B5EF4-FFF2-40B4-BE49-F238E27FC236}">
                    <a16:creationId xmlns:a16="http://schemas.microsoft.com/office/drawing/2014/main" id="{E14E16A6-A2F3-4247-8A5D-21D09DF0E256}"/>
                  </a:ext>
                </a:extLst>
              </p:cNvPr>
              <p:cNvGrpSpPr/>
              <p:nvPr/>
            </p:nvGrpSpPr>
            <p:grpSpPr>
              <a:xfrm>
                <a:off x="2281473" y="2095160"/>
                <a:ext cx="434500" cy="572752"/>
                <a:chOff x="2281473" y="2095160"/>
                <a:chExt cx="434500" cy="572752"/>
              </a:xfrm>
            </p:grpSpPr>
            <p:sp>
              <p:nvSpPr>
                <p:cNvPr id="382" name="Graphic 2">
                  <a:extLst>
                    <a:ext uri="{FF2B5EF4-FFF2-40B4-BE49-F238E27FC236}">
                      <a16:creationId xmlns:a16="http://schemas.microsoft.com/office/drawing/2014/main" id="{9B55B1B2-F9C4-469E-A339-508D67864E0C}"/>
                    </a:ext>
                  </a:extLst>
                </p:cNvPr>
                <p:cNvSpPr/>
                <p:nvPr/>
              </p:nvSpPr>
              <p:spPr>
                <a:xfrm>
                  <a:off x="2335998" y="2191467"/>
                  <a:ext cx="351164" cy="445938"/>
                </a:xfrm>
                <a:custGeom>
                  <a:avLst/>
                  <a:gdLst>
                    <a:gd name="connsiteX0" fmla="*/ 3932 w 351164"/>
                    <a:gd name="connsiteY0" fmla="*/ 237374 h 445938"/>
                    <a:gd name="connsiteX1" fmla="*/ 86578 w 351164"/>
                    <a:gd name="connsiteY1" fmla="*/ 398464 h 445938"/>
                    <a:gd name="connsiteX2" fmla="*/ 285956 w 351164"/>
                    <a:gd name="connsiteY2" fmla="*/ 426013 h 445938"/>
                    <a:gd name="connsiteX3" fmla="*/ 348524 w 351164"/>
                    <a:gd name="connsiteY3" fmla="*/ 120175 h 445938"/>
                    <a:gd name="connsiteX4" fmla="*/ 163621 w 351164"/>
                    <a:gd name="connsiteY4" fmla="*/ 31459 h 445938"/>
                    <a:gd name="connsiteX5" fmla="*/ 3932 w 351164"/>
                    <a:gd name="connsiteY5" fmla="*/ 237374 h 4459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51164" h="445938">
                      <a:moveTo>
                        <a:pt x="3932" y="237374"/>
                      </a:moveTo>
                      <a:cubicBezTo>
                        <a:pt x="11869" y="277063"/>
                        <a:pt x="59496" y="374184"/>
                        <a:pt x="86578" y="398464"/>
                      </a:cubicBezTo>
                      <a:cubicBezTo>
                        <a:pt x="136072" y="442355"/>
                        <a:pt x="233660" y="464768"/>
                        <a:pt x="285956" y="426013"/>
                      </a:cubicBezTo>
                      <a:cubicBezTo>
                        <a:pt x="355995" y="373717"/>
                        <a:pt x="354594" y="248113"/>
                        <a:pt x="348524" y="120175"/>
                      </a:cubicBezTo>
                      <a:cubicBezTo>
                        <a:pt x="342454" y="-7763"/>
                        <a:pt x="243932" y="-26907"/>
                        <a:pt x="163621" y="31459"/>
                      </a:cubicBezTo>
                      <a:cubicBezTo>
                        <a:pt x="83776" y="89825"/>
                        <a:pt x="-21749" y="112237"/>
                        <a:pt x="3932" y="237374"/>
                      </a:cubicBezTo>
                      <a:close/>
                    </a:path>
                  </a:pathLst>
                </a:custGeom>
                <a:solidFill>
                  <a:srgbClr val="EFD0B4"/>
                </a:solidFill>
                <a:ln w="4665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ID"/>
                </a:p>
              </p:txBody>
            </p:sp>
            <p:sp>
              <p:nvSpPr>
                <p:cNvPr id="383" name="Graphic 2">
                  <a:extLst>
                    <a:ext uri="{FF2B5EF4-FFF2-40B4-BE49-F238E27FC236}">
                      <a16:creationId xmlns:a16="http://schemas.microsoft.com/office/drawing/2014/main" id="{7C715F20-C0CA-4163-9847-D2B53C71EAA3}"/>
                    </a:ext>
                  </a:extLst>
                </p:cNvPr>
                <p:cNvSpPr/>
                <p:nvPr/>
              </p:nvSpPr>
              <p:spPr>
                <a:xfrm>
                  <a:off x="2281473" y="2095160"/>
                  <a:ext cx="434500" cy="572752"/>
                </a:xfrm>
                <a:custGeom>
                  <a:avLst/>
                  <a:gdLst>
                    <a:gd name="connsiteX0" fmla="*/ 328341 w 434500"/>
                    <a:gd name="connsiteY0" fmla="*/ 18971 h 572752"/>
                    <a:gd name="connsiteX1" fmla="*/ 138302 w 434500"/>
                    <a:gd name="connsiteY1" fmla="*/ 17570 h 572752"/>
                    <a:gd name="connsiteX2" fmla="*/ 89274 w 434500"/>
                    <a:gd name="connsiteY2" fmla="*/ 43718 h 572752"/>
                    <a:gd name="connsiteX3" fmla="*/ 2893 w 434500"/>
                    <a:gd name="connsiteY3" fmla="*/ 187532 h 572752"/>
                    <a:gd name="connsiteX4" fmla="*/ 39780 w 434500"/>
                    <a:gd name="connsiteY4" fmla="*/ 371968 h 572752"/>
                    <a:gd name="connsiteX5" fmla="*/ 67795 w 434500"/>
                    <a:gd name="connsiteY5" fmla="*/ 411190 h 572752"/>
                    <a:gd name="connsiteX6" fmla="*/ 74799 w 434500"/>
                    <a:gd name="connsiteY6" fmla="*/ 422863 h 572752"/>
                    <a:gd name="connsiteX7" fmla="*/ 144372 w 434500"/>
                    <a:gd name="connsiteY7" fmla="*/ 497105 h 572752"/>
                    <a:gd name="connsiteX8" fmla="*/ 298925 w 434500"/>
                    <a:gd name="connsiteY8" fmla="*/ 572747 h 572752"/>
                    <a:gd name="connsiteX9" fmla="*/ 383905 w 434500"/>
                    <a:gd name="connsiteY9" fmla="*/ 498039 h 572752"/>
                    <a:gd name="connsiteX10" fmla="*/ 395112 w 434500"/>
                    <a:gd name="connsiteY10" fmla="*/ 426599 h 572752"/>
                    <a:gd name="connsiteX11" fmla="*/ 386707 w 434500"/>
                    <a:gd name="connsiteY11" fmla="*/ 426132 h 572752"/>
                    <a:gd name="connsiteX12" fmla="*/ 348886 w 434500"/>
                    <a:gd name="connsiteY12" fmla="*/ 414926 h 572752"/>
                    <a:gd name="connsiteX13" fmla="*/ 340014 w 434500"/>
                    <a:gd name="connsiteY13" fmla="*/ 418661 h 572752"/>
                    <a:gd name="connsiteX14" fmla="*/ 289586 w 434500"/>
                    <a:gd name="connsiteY14" fmla="*/ 445276 h 572752"/>
                    <a:gd name="connsiteX15" fmla="*/ 265306 w 434500"/>
                    <a:gd name="connsiteY15" fmla="*/ 488700 h 572752"/>
                    <a:gd name="connsiteX16" fmla="*/ 180792 w 434500"/>
                    <a:gd name="connsiteY16" fmla="*/ 455081 h 572752"/>
                    <a:gd name="connsiteX17" fmla="*/ 146239 w 434500"/>
                    <a:gd name="connsiteY17" fmla="*/ 427066 h 572752"/>
                    <a:gd name="connsiteX18" fmla="*/ 93477 w 434500"/>
                    <a:gd name="connsiteY18" fmla="*/ 313602 h 572752"/>
                    <a:gd name="connsiteX19" fmla="*/ 179391 w 434500"/>
                    <a:gd name="connsiteY19" fmla="*/ 357493 h 572752"/>
                    <a:gd name="connsiteX20" fmla="*/ 221415 w 434500"/>
                    <a:gd name="connsiteY20" fmla="*/ 217882 h 572752"/>
                    <a:gd name="connsiteX21" fmla="*/ 267640 w 434500"/>
                    <a:gd name="connsiteY21" fmla="*/ 193602 h 572752"/>
                    <a:gd name="connsiteX22" fmla="*/ 337680 w 434500"/>
                    <a:gd name="connsiteY22" fmla="*/ 209944 h 572752"/>
                    <a:gd name="connsiteX23" fmla="*/ 433400 w 434500"/>
                    <a:gd name="connsiteY23" fmla="*/ 171189 h 572752"/>
                    <a:gd name="connsiteX24" fmla="*/ 328341 w 434500"/>
                    <a:gd name="connsiteY24" fmla="*/ 18971 h 572752"/>
                    <a:gd name="connsiteX25" fmla="*/ 302193 w 434500"/>
                    <a:gd name="connsiteY25" fmla="*/ 491502 h 572752"/>
                    <a:gd name="connsiteX26" fmla="*/ 305929 w 434500"/>
                    <a:gd name="connsiteY26" fmla="*/ 484965 h 572752"/>
                    <a:gd name="connsiteX27" fmla="*/ 321804 w 434500"/>
                    <a:gd name="connsiteY27" fmla="*/ 465354 h 572752"/>
                    <a:gd name="connsiteX28" fmla="*/ 344684 w 434500"/>
                    <a:gd name="connsiteY28" fmla="*/ 441073 h 572752"/>
                    <a:gd name="connsiteX29" fmla="*/ 376902 w 434500"/>
                    <a:gd name="connsiteY29" fmla="*/ 455081 h 572752"/>
                    <a:gd name="connsiteX30" fmla="*/ 335345 w 434500"/>
                    <a:gd name="connsiteY30" fmla="*/ 491969 h 572752"/>
                    <a:gd name="connsiteX31" fmla="*/ 302193 w 434500"/>
                    <a:gd name="connsiteY31" fmla="*/ 493836 h 572752"/>
                    <a:gd name="connsiteX32" fmla="*/ 302193 w 434500"/>
                    <a:gd name="connsiteY32" fmla="*/ 491502 h 5727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</a:cxnLst>
                  <a:rect l="l" t="t" r="r" b="b"/>
                  <a:pathLst>
                    <a:path w="434500" h="572752">
                      <a:moveTo>
                        <a:pt x="328341" y="18971"/>
                      </a:moveTo>
                      <a:cubicBezTo>
                        <a:pt x="276512" y="-3909"/>
                        <a:pt x="208341" y="-8111"/>
                        <a:pt x="138302" y="17570"/>
                      </a:cubicBezTo>
                      <a:cubicBezTo>
                        <a:pt x="119624" y="24574"/>
                        <a:pt x="103282" y="33446"/>
                        <a:pt x="89274" y="43718"/>
                      </a:cubicBezTo>
                      <a:cubicBezTo>
                        <a:pt x="43982" y="74068"/>
                        <a:pt x="12698" y="125430"/>
                        <a:pt x="2893" y="187532"/>
                      </a:cubicBezTo>
                      <a:cubicBezTo>
                        <a:pt x="-7380" y="249633"/>
                        <a:pt x="10830" y="316871"/>
                        <a:pt x="39780" y="371968"/>
                      </a:cubicBezTo>
                      <a:cubicBezTo>
                        <a:pt x="47718" y="386910"/>
                        <a:pt x="57056" y="399984"/>
                        <a:pt x="67795" y="411190"/>
                      </a:cubicBezTo>
                      <a:cubicBezTo>
                        <a:pt x="70130" y="414926"/>
                        <a:pt x="72465" y="419128"/>
                        <a:pt x="74799" y="422863"/>
                      </a:cubicBezTo>
                      <a:cubicBezTo>
                        <a:pt x="89741" y="447144"/>
                        <a:pt x="115422" y="480295"/>
                        <a:pt x="144372" y="497105"/>
                      </a:cubicBezTo>
                      <a:cubicBezTo>
                        <a:pt x="153710" y="505043"/>
                        <a:pt x="225617" y="571813"/>
                        <a:pt x="298925" y="572747"/>
                      </a:cubicBezTo>
                      <a:cubicBezTo>
                        <a:pt x="351687" y="573214"/>
                        <a:pt x="387641" y="542864"/>
                        <a:pt x="383905" y="498039"/>
                      </a:cubicBezTo>
                      <a:cubicBezTo>
                        <a:pt x="389975" y="482630"/>
                        <a:pt x="391843" y="444809"/>
                        <a:pt x="395112" y="426599"/>
                      </a:cubicBezTo>
                      <a:cubicBezTo>
                        <a:pt x="394178" y="428000"/>
                        <a:pt x="389042" y="428000"/>
                        <a:pt x="386707" y="426132"/>
                      </a:cubicBezTo>
                      <a:cubicBezTo>
                        <a:pt x="376435" y="418661"/>
                        <a:pt x="361960" y="413058"/>
                        <a:pt x="348886" y="414926"/>
                      </a:cubicBezTo>
                      <a:cubicBezTo>
                        <a:pt x="346084" y="415393"/>
                        <a:pt x="342816" y="416793"/>
                        <a:pt x="340014" y="418661"/>
                      </a:cubicBezTo>
                      <a:cubicBezTo>
                        <a:pt x="321804" y="411657"/>
                        <a:pt x="300792" y="434070"/>
                        <a:pt x="289586" y="445276"/>
                      </a:cubicBezTo>
                      <a:cubicBezTo>
                        <a:pt x="279314" y="456015"/>
                        <a:pt x="264839" y="472358"/>
                        <a:pt x="265306" y="488700"/>
                      </a:cubicBezTo>
                      <a:cubicBezTo>
                        <a:pt x="228419" y="480762"/>
                        <a:pt x="194800" y="464887"/>
                        <a:pt x="180792" y="455081"/>
                      </a:cubicBezTo>
                      <a:cubicBezTo>
                        <a:pt x="170986" y="444809"/>
                        <a:pt x="161181" y="435003"/>
                        <a:pt x="146239" y="427066"/>
                      </a:cubicBezTo>
                      <a:cubicBezTo>
                        <a:pt x="78068" y="390178"/>
                        <a:pt x="81803" y="331812"/>
                        <a:pt x="93477" y="313602"/>
                      </a:cubicBezTo>
                      <a:cubicBezTo>
                        <a:pt x="121959" y="269244"/>
                        <a:pt x="150909" y="349556"/>
                        <a:pt x="179391" y="357493"/>
                      </a:cubicBezTo>
                      <a:cubicBezTo>
                        <a:pt x="206940" y="365431"/>
                        <a:pt x="175189" y="258972"/>
                        <a:pt x="221415" y="217882"/>
                      </a:cubicBezTo>
                      <a:cubicBezTo>
                        <a:pt x="232621" y="208077"/>
                        <a:pt x="248963" y="193135"/>
                        <a:pt x="267640" y="193602"/>
                      </a:cubicBezTo>
                      <a:cubicBezTo>
                        <a:pt x="291921" y="194536"/>
                        <a:pt x="314333" y="203874"/>
                        <a:pt x="337680" y="209944"/>
                      </a:cubicBezTo>
                      <a:cubicBezTo>
                        <a:pt x="372232" y="219283"/>
                        <a:pt x="427797" y="217882"/>
                        <a:pt x="433400" y="171189"/>
                      </a:cubicBezTo>
                      <a:cubicBezTo>
                        <a:pt x="442738" y="100216"/>
                        <a:pt x="391376" y="40450"/>
                        <a:pt x="328341" y="18971"/>
                      </a:cubicBezTo>
                      <a:close/>
                      <a:moveTo>
                        <a:pt x="302193" y="491502"/>
                      </a:moveTo>
                      <a:cubicBezTo>
                        <a:pt x="303127" y="489167"/>
                        <a:pt x="304528" y="487299"/>
                        <a:pt x="305929" y="484965"/>
                      </a:cubicBezTo>
                      <a:cubicBezTo>
                        <a:pt x="310598" y="477961"/>
                        <a:pt x="315734" y="471424"/>
                        <a:pt x="321804" y="465354"/>
                      </a:cubicBezTo>
                      <a:cubicBezTo>
                        <a:pt x="328341" y="458350"/>
                        <a:pt x="339080" y="450412"/>
                        <a:pt x="344684" y="441073"/>
                      </a:cubicBezTo>
                      <a:cubicBezTo>
                        <a:pt x="352154" y="444809"/>
                        <a:pt x="374100" y="454614"/>
                        <a:pt x="376902" y="455081"/>
                      </a:cubicBezTo>
                      <a:cubicBezTo>
                        <a:pt x="363828" y="472358"/>
                        <a:pt x="347952" y="489167"/>
                        <a:pt x="335345" y="491969"/>
                      </a:cubicBezTo>
                      <a:cubicBezTo>
                        <a:pt x="324606" y="494303"/>
                        <a:pt x="313399" y="494303"/>
                        <a:pt x="302193" y="493836"/>
                      </a:cubicBezTo>
                      <a:cubicBezTo>
                        <a:pt x="301726" y="492902"/>
                        <a:pt x="301726" y="491969"/>
                        <a:pt x="302193" y="491502"/>
                      </a:cubicBezTo>
                      <a:close/>
                    </a:path>
                  </a:pathLst>
                </a:custGeom>
                <a:solidFill>
                  <a:srgbClr val="78401F"/>
                </a:solidFill>
                <a:ln w="4665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ID"/>
                </a:p>
              </p:txBody>
            </p:sp>
          </p:grpSp>
        </p:grpSp>
        <p:sp>
          <p:nvSpPr>
            <p:cNvPr id="368" name="Graphic 2">
              <a:extLst>
                <a:ext uri="{FF2B5EF4-FFF2-40B4-BE49-F238E27FC236}">
                  <a16:creationId xmlns:a16="http://schemas.microsoft.com/office/drawing/2014/main" id="{BF7B202D-DB82-4399-8856-D2DAEC7AE536}"/>
                </a:ext>
              </a:extLst>
            </p:cNvPr>
            <p:cNvSpPr/>
            <p:nvPr/>
          </p:nvSpPr>
          <p:spPr>
            <a:xfrm>
              <a:off x="2169501" y="2688904"/>
              <a:ext cx="207351" cy="408577"/>
            </a:xfrm>
            <a:custGeom>
              <a:avLst/>
              <a:gdLst>
                <a:gd name="connsiteX0" fmla="*/ 0 w 207351"/>
                <a:gd name="connsiteY0" fmla="*/ 404375 h 408577"/>
                <a:gd name="connsiteX1" fmla="*/ 20078 w 207351"/>
                <a:gd name="connsiteY1" fmla="*/ 92000 h 408577"/>
                <a:gd name="connsiteX2" fmla="*/ 116265 w 207351"/>
                <a:gd name="connsiteY2" fmla="*/ 16 h 408577"/>
                <a:gd name="connsiteX3" fmla="*/ 207316 w 207351"/>
                <a:gd name="connsiteY3" fmla="*/ 96670 h 408577"/>
                <a:gd name="connsiteX4" fmla="*/ 201246 w 207351"/>
                <a:gd name="connsiteY4" fmla="*/ 408577 h 408577"/>
                <a:gd name="connsiteX5" fmla="*/ 0 w 207351"/>
                <a:gd name="connsiteY5" fmla="*/ 404375 h 408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351" h="408577">
                  <a:moveTo>
                    <a:pt x="0" y="404375"/>
                  </a:moveTo>
                  <a:lnTo>
                    <a:pt x="20078" y="92000"/>
                  </a:lnTo>
                  <a:cubicBezTo>
                    <a:pt x="21479" y="40171"/>
                    <a:pt x="64436" y="-918"/>
                    <a:pt x="116265" y="16"/>
                  </a:cubicBezTo>
                  <a:cubicBezTo>
                    <a:pt x="168094" y="1416"/>
                    <a:pt x="208717" y="44374"/>
                    <a:pt x="207316" y="96670"/>
                  </a:cubicBezTo>
                  <a:lnTo>
                    <a:pt x="201246" y="408577"/>
                  </a:lnTo>
                  <a:lnTo>
                    <a:pt x="0" y="404375"/>
                  </a:lnTo>
                  <a:close/>
                </a:path>
              </a:pathLst>
            </a:custGeom>
            <a:solidFill>
              <a:schemeClr val="accent1"/>
            </a:solidFill>
            <a:ln w="466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</p:grp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B2EF7F88-4DE1-9509-8197-815B493099C8}"/>
              </a:ext>
            </a:extLst>
          </p:cNvPr>
          <p:cNvCxnSpPr>
            <a:cxnSpLocks/>
          </p:cNvCxnSpPr>
          <p:nvPr/>
        </p:nvCxnSpPr>
        <p:spPr>
          <a:xfrm>
            <a:off x="2266871" y="393628"/>
            <a:ext cx="8553529" cy="72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2" name="TextBox 351">
            <a:extLst>
              <a:ext uri="{FF2B5EF4-FFF2-40B4-BE49-F238E27FC236}">
                <a16:creationId xmlns:a16="http://schemas.microsoft.com/office/drawing/2014/main" id="{532E4F45-7C25-A0B3-1C1D-0435CCE132DD}"/>
              </a:ext>
            </a:extLst>
          </p:cNvPr>
          <p:cNvSpPr txBox="1"/>
          <p:nvPr/>
        </p:nvSpPr>
        <p:spPr>
          <a:xfrm>
            <a:off x="6414099" y="2988880"/>
            <a:ext cx="2742625" cy="49616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>
              <a:lnSpc>
                <a:spcPct val="120000"/>
              </a:lnSpc>
              <a:spcBef>
                <a:spcPts val="1200"/>
              </a:spcBef>
              <a:defRPr sz="1400">
                <a:solidFill>
                  <a:srgbClr val="363D6E"/>
                </a:solidFill>
              </a:defRPr>
            </a:lvl1pPr>
          </a:lstStyle>
          <a:p>
            <a:pPr>
              <a:lnSpc>
                <a:spcPct val="80000"/>
              </a:lnSpc>
            </a:pPr>
            <a:r>
              <a:rPr lang="es-ES" sz="3200" b="1" dirty="0" err="1">
                <a:solidFill>
                  <a:schemeClr val="bg2">
                    <a:lumMod val="50000"/>
                  </a:schemeClr>
                </a:solidFill>
                <a:ea typeface="Open Sans SemiBold" panose="020B0706030804020204" pitchFamily="34" charset="0"/>
                <a:cs typeface="Poppins" panose="00000500000000000000" pitchFamily="50" charset="0"/>
              </a:rPr>
              <a:t>Any</a:t>
            </a:r>
            <a:r>
              <a:rPr lang="es-ES" sz="3200" b="1" dirty="0">
                <a:solidFill>
                  <a:schemeClr val="bg2">
                    <a:lumMod val="50000"/>
                  </a:schemeClr>
                </a:solidFill>
                <a:ea typeface="Open Sans SemiBold" panose="020B0706030804020204" pitchFamily="34" charset="0"/>
                <a:cs typeface="Poppins" panose="00000500000000000000" pitchFamily="50" charset="0"/>
              </a:rPr>
              <a:t> </a:t>
            </a:r>
            <a:r>
              <a:rPr lang="es-ES" sz="3200" b="1" dirty="0" err="1">
                <a:solidFill>
                  <a:schemeClr val="bg2">
                    <a:lumMod val="50000"/>
                  </a:schemeClr>
                </a:solidFill>
                <a:ea typeface="Open Sans SemiBold" panose="020B0706030804020204" pitchFamily="34" charset="0"/>
                <a:cs typeface="Poppins" panose="00000500000000000000" pitchFamily="50" charset="0"/>
              </a:rPr>
              <a:t>Questions</a:t>
            </a:r>
            <a:endParaRPr lang="en-US" sz="3200" dirty="0">
              <a:solidFill>
                <a:schemeClr val="bg2">
                  <a:lumMod val="50000"/>
                </a:schemeClr>
              </a:solidFill>
              <a:ea typeface="Open Sans SemiBold" panose="020B0706030804020204" pitchFamily="34" charset="0"/>
              <a:cs typeface="Poppins" panose="00000500000000000000" pitchFamily="50" charset="0"/>
            </a:endParaRPr>
          </a:p>
        </p:txBody>
      </p:sp>
      <p:grpSp>
        <p:nvGrpSpPr>
          <p:cNvPr id="125" name="Group 34">
            <a:extLst>
              <a:ext uri="{FF2B5EF4-FFF2-40B4-BE49-F238E27FC236}">
                <a16:creationId xmlns:a16="http://schemas.microsoft.com/office/drawing/2014/main" id="{372322A4-1177-0B0B-12BC-5A95C59F478F}"/>
              </a:ext>
            </a:extLst>
          </p:cNvPr>
          <p:cNvGrpSpPr/>
          <p:nvPr/>
        </p:nvGrpSpPr>
        <p:grpSpPr>
          <a:xfrm>
            <a:off x="339769" y="218192"/>
            <a:ext cx="1832368" cy="461665"/>
            <a:chOff x="342905" y="6473150"/>
            <a:chExt cx="1832368" cy="461665"/>
          </a:xfrm>
        </p:grpSpPr>
        <p:sp>
          <p:nvSpPr>
            <p:cNvPr id="126" name="Rectangle: Rounded Corners 35">
              <a:extLst>
                <a:ext uri="{FF2B5EF4-FFF2-40B4-BE49-F238E27FC236}">
                  <a16:creationId xmlns:a16="http://schemas.microsoft.com/office/drawing/2014/main" id="{D622E8C9-5F37-5C65-ABFF-591BF8A7E798}"/>
                </a:ext>
              </a:extLst>
            </p:cNvPr>
            <p:cNvSpPr/>
            <p:nvPr/>
          </p:nvSpPr>
          <p:spPr>
            <a:xfrm>
              <a:off x="359247" y="6484041"/>
              <a:ext cx="1816026" cy="317500"/>
            </a:xfrm>
            <a:prstGeom prst="roundRect">
              <a:avLst>
                <a:gd name="adj" fmla="val 50000"/>
              </a:avLst>
            </a:prstGeom>
            <a:solidFill>
              <a:srgbClr val="21AD8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" name="TextBox 36">
              <a:extLst>
                <a:ext uri="{FF2B5EF4-FFF2-40B4-BE49-F238E27FC236}">
                  <a16:creationId xmlns:a16="http://schemas.microsoft.com/office/drawing/2014/main" id="{3D2E3E85-74A1-E68D-1F33-5053C9948E14}"/>
                </a:ext>
              </a:extLst>
            </p:cNvPr>
            <p:cNvSpPr txBox="1"/>
            <p:nvPr/>
          </p:nvSpPr>
          <p:spPr>
            <a:xfrm>
              <a:off x="342905" y="6473150"/>
              <a:ext cx="132397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800" dirty="0">
                  <a:solidFill>
                    <a:schemeClr val="bg1"/>
                  </a:solidFill>
                  <a:ea typeface="Open Sans" panose="020B0606030504020204" pitchFamily="34" charset="0"/>
                  <a:cs typeface="Poppins" panose="00000500000000000000" pitchFamily="50" charset="0"/>
                </a:rPr>
                <a:t>The </a:t>
              </a:r>
              <a:r>
                <a:rPr lang="en-US" sz="800" b="1" dirty="0">
                  <a:solidFill>
                    <a:schemeClr val="bg1"/>
                  </a:solidFill>
                  <a:ea typeface="Open Sans" panose="020B0606030504020204" pitchFamily="34" charset="0"/>
                  <a:cs typeface="Poppins" panose="00000500000000000000" pitchFamily="50" charset="0"/>
                </a:rPr>
                <a:t>Evolution of Computer Vision </a:t>
              </a:r>
              <a:r>
                <a:rPr lang="en-US" sz="700" dirty="0">
                  <a:solidFill>
                    <a:schemeClr val="bg1"/>
                  </a:solidFill>
                  <a:ea typeface="Open Sans" panose="020B0606030504020204" pitchFamily="34" charset="0"/>
                  <a:cs typeface="Poppins" panose="00000500000000000000" pitchFamily="50" charset="0"/>
                </a:rPr>
                <a:t>1970s – 1980s</a:t>
              </a:r>
            </a:p>
            <a:p>
              <a:pPr algn="r"/>
              <a:endParaRPr lang="en-US" sz="800" b="1" dirty="0">
                <a:solidFill>
                  <a:schemeClr val="bg1"/>
                </a:solidFill>
                <a:ea typeface="Open Sans" panose="020B0606030504020204" pitchFamily="34" charset="0"/>
                <a:cs typeface="Poppins" panose="00000500000000000000" pitchFamily="50" charset="0"/>
              </a:endParaRPr>
            </a:p>
          </p:txBody>
        </p:sp>
        <p:sp>
          <p:nvSpPr>
            <p:cNvPr id="128" name="Rectangle: Rounded Corners 37">
              <a:extLst>
                <a:ext uri="{FF2B5EF4-FFF2-40B4-BE49-F238E27FC236}">
                  <a16:creationId xmlns:a16="http://schemas.microsoft.com/office/drawing/2014/main" id="{72CEFE7C-EA20-BEBE-CB39-7C7F094B2DD5}"/>
                </a:ext>
              </a:extLst>
            </p:cNvPr>
            <p:cNvSpPr/>
            <p:nvPr/>
          </p:nvSpPr>
          <p:spPr>
            <a:xfrm>
              <a:off x="1653778" y="6484041"/>
              <a:ext cx="521495" cy="31750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99000">
                  <a:srgbClr val="21AD84"/>
                </a:gs>
                <a:gs pos="52000">
                  <a:srgbClr val="7030A0">
                    <a:alpha val="79000"/>
                  </a:srgbClr>
                </a:gs>
                <a:gs pos="0">
                  <a:srgbClr val="DD02F8">
                    <a:alpha val="68000"/>
                  </a:srgbClr>
                </a:gs>
              </a:gsLst>
              <a:lin ang="10800000" scaled="1"/>
              <a:tileRect/>
            </a:gra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799E7924-C62B-9E3A-54EC-531397C6CC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38264" y="207190"/>
            <a:ext cx="712509" cy="365125"/>
          </a:xfrm>
        </p:spPr>
        <p:txBody>
          <a:bodyPr/>
          <a:lstStyle/>
          <a:p>
            <a:fld id="{29F301A9-F9AC-462A-9546-05553F4C8475}" type="slidenum">
              <a:rPr lang="en-US" sz="1600" b="1" smtClean="0">
                <a:latin typeface="+mn-lt"/>
              </a:rPr>
              <a:pPr/>
              <a:t>12</a:t>
            </a:fld>
            <a:endParaRPr lang="en-US" sz="1600" b="1" dirty="0">
              <a:latin typeface="+mn-lt"/>
            </a:endParaRPr>
          </a:p>
        </p:txBody>
      </p:sp>
      <p:grpSp>
        <p:nvGrpSpPr>
          <p:cNvPr id="2" name="Grupo 1"/>
          <p:cNvGrpSpPr/>
          <p:nvPr/>
        </p:nvGrpSpPr>
        <p:grpSpPr>
          <a:xfrm>
            <a:off x="9079643" y="2850091"/>
            <a:ext cx="597310" cy="773738"/>
            <a:chOff x="10374261" y="3116002"/>
            <a:chExt cx="597310" cy="773738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65E4ACCF-0FCB-44F8-8B0A-27F5FFD6042C}"/>
                </a:ext>
              </a:extLst>
            </p:cNvPr>
            <p:cNvSpPr/>
            <p:nvPr/>
          </p:nvSpPr>
          <p:spPr>
            <a:xfrm>
              <a:off x="10374261" y="3128503"/>
              <a:ext cx="597310" cy="597310"/>
            </a:xfrm>
            <a:prstGeom prst="ellipse">
              <a:avLst/>
            </a:prstGeom>
            <a:solidFill>
              <a:srgbClr val="21AD84"/>
            </a:solidFill>
            <a:ln>
              <a:noFill/>
            </a:ln>
            <a:effectLst>
              <a:outerShdw blurRad="508000" dist="88900" dir="5400000" sx="91000" sy="91000" algn="t" rotWithShape="0">
                <a:prstClr val="black">
                  <a:alpha val="2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" name="TextBox 351">
              <a:extLst>
                <a:ext uri="{FF2B5EF4-FFF2-40B4-BE49-F238E27FC236}">
                  <a16:creationId xmlns:a16="http://schemas.microsoft.com/office/drawing/2014/main" id="{532E4F45-7C25-A0B3-1C1D-0435CCE132DD}"/>
                </a:ext>
              </a:extLst>
            </p:cNvPr>
            <p:cNvSpPr txBox="1"/>
            <p:nvPr/>
          </p:nvSpPr>
          <p:spPr>
            <a:xfrm>
              <a:off x="10451447" y="3116002"/>
              <a:ext cx="442937" cy="77373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>
                <a:lnSpc>
                  <a:spcPct val="120000"/>
                </a:lnSpc>
                <a:spcBef>
                  <a:spcPts val="1200"/>
                </a:spcBef>
                <a:defRPr sz="1400">
                  <a:solidFill>
                    <a:srgbClr val="363D6E"/>
                  </a:solidFill>
                </a:defRPr>
              </a:lvl1pPr>
            </a:lstStyle>
            <a:p>
              <a:pPr>
                <a:lnSpc>
                  <a:spcPct val="80000"/>
                </a:lnSpc>
              </a:pPr>
              <a:r>
                <a:rPr lang="es-ES" sz="5400" b="1" dirty="0">
                  <a:solidFill>
                    <a:schemeClr val="bg1"/>
                  </a:solidFill>
                  <a:ea typeface="Open Sans SemiBold" panose="020B0706030804020204" pitchFamily="34" charset="0"/>
                  <a:cs typeface="Poppins" panose="00000500000000000000" pitchFamily="50" charset="0"/>
                </a:rPr>
                <a:t>?</a:t>
              </a:r>
              <a:endParaRPr lang="en-US" sz="5400" dirty="0">
                <a:solidFill>
                  <a:schemeClr val="bg1"/>
                </a:solidFill>
                <a:ea typeface="Open Sans SemiBold" panose="020B0706030804020204" pitchFamily="34" charset="0"/>
                <a:cs typeface="Poppins" panose="00000500000000000000" pitchFamily="50" charset="0"/>
              </a:endParaRPr>
            </a:p>
          </p:txBody>
        </p:sp>
      </p:grpSp>
      <p:sp>
        <p:nvSpPr>
          <p:cNvPr id="131" name="Title 11">
            <a:extLst>
              <a:ext uri="{FF2B5EF4-FFF2-40B4-BE49-F238E27FC236}">
                <a16:creationId xmlns:a16="http://schemas.microsoft.com/office/drawing/2014/main" id="{13BCB567-D330-8FD1-1DCF-CC7DC13B6EB4}"/>
              </a:ext>
            </a:extLst>
          </p:cNvPr>
          <p:cNvSpPr txBox="1">
            <a:spLocks/>
          </p:cNvSpPr>
          <p:nvPr/>
        </p:nvSpPr>
        <p:spPr>
          <a:xfrm>
            <a:off x="9530167" y="279282"/>
            <a:ext cx="2395520" cy="220940"/>
          </a:xfrm>
          <a:prstGeom prst="rect">
            <a:avLst/>
          </a:prstGeom>
        </p:spPr>
        <p:txBody>
          <a:bodyPr vert="horz" wrap="square" lIns="91416" tIns="45708" rIns="91416" bIns="45708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800" dirty="0">
                <a:solidFill>
                  <a:schemeClr val="bg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Poppins" panose="00000500000000000000" pitchFamily="50" charset="0"/>
              </a:rPr>
              <a:t>Questions</a:t>
            </a:r>
          </a:p>
        </p:txBody>
      </p:sp>
    </p:spTree>
    <p:extLst>
      <p:ext uri="{BB962C8B-B14F-4D97-AF65-F5344CB8AC3E}">
        <p14:creationId xmlns:p14="http://schemas.microsoft.com/office/powerpoint/2010/main" val="2863661837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4C9F7A-C6A1-7CBC-75C2-47B86A8231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Marcador de posición de imagen 14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7" r="1880" b="3403"/>
          <a:stretch/>
        </p:blipFill>
        <p:spPr>
          <a:xfrm>
            <a:off x="0" y="0"/>
            <a:ext cx="12205827" cy="6858000"/>
          </a:xfrm>
          <a:solidFill>
            <a:schemeClr val="bg1">
              <a:lumMod val="85000"/>
            </a:schemeClr>
          </a:solidFill>
        </p:spPr>
      </p:pic>
      <p:sp>
        <p:nvSpPr>
          <p:cNvPr id="2" name="Freeform: Shape 1">
            <a:extLst>
              <a:ext uri="{FF2B5EF4-FFF2-40B4-BE49-F238E27FC236}">
                <a16:creationId xmlns:a16="http://schemas.microsoft.com/office/drawing/2014/main" id="{23F9F944-D42E-884D-A917-C8FAB6171C37}"/>
              </a:ext>
            </a:extLst>
          </p:cNvPr>
          <p:cNvSpPr/>
          <p:nvPr/>
        </p:nvSpPr>
        <p:spPr>
          <a:xfrm>
            <a:off x="381743" y="343302"/>
            <a:ext cx="11428512" cy="6171396"/>
          </a:xfrm>
          <a:custGeom>
            <a:avLst/>
            <a:gdLst>
              <a:gd name="connsiteX0" fmla="*/ 16529782 w 22860000"/>
              <a:gd name="connsiteY0" fmla="*/ 1226820 h 12344400"/>
              <a:gd name="connsiteX1" fmla="*/ 11393903 w 22860000"/>
              <a:gd name="connsiteY1" fmla="*/ 6362700 h 12344400"/>
              <a:gd name="connsiteX2" fmla="*/ 16529782 w 22860000"/>
              <a:gd name="connsiteY2" fmla="*/ 11498580 h 12344400"/>
              <a:gd name="connsiteX3" fmla="*/ 21665662 w 22860000"/>
              <a:gd name="connsiteY3" fmla="*/ 6362700 h 12344400"/>
              <a:gd name="connsiteX4" fmla="*/ 16529782 w 22860000"/>
              <a:gd name="connsiteY4" fmla="*/ 1226820 h 12344400"/>
              <a:gd name="connsiteX5" fmla="*/ 0 w 22860000"/>
              <a:gd name="connsiteY5" fmla="*/ 0 h 12344400"/>
              <a:gd name="connsiteX6" fmla="*/ 22860000 w 22860000"/>
              <a:gd name="connsiteY6" fmla="*/ 0 h 12344400"/>
              <a:gd name="connsiteX7" fmla="*/ 22860000 w 22860000"/>
              <a:gd name="connsiteY7" fmla="*/ 12344400 h 12344400"/>
              <a:gd name="connsiteX8" fmla="*/ 0 w 22860000"/>
              <a:gd name="connsiteY8" fmla="*/ 12344400 h 123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60000" h="12344400">
                <a:moveTo>
                  <a:pt x="16529782" y="1226820"/>
                </a:moveTo>
                <a:cubicBezTo>
                  <a:pt x="13693315" y="1226820"/>
                  <a:pt x="11393903" y="3526232"/>
                  <a:pt x="11393903" y="6362700"/>
                </a:cubicBezTo>
                <a:cubicBezTo>
                  <a:pt x="11393903" y="9199168"/>
                  <a:pt x="13693315" y="11498580"/>
                  <a:pt x="16529782" y="11498580"/>
                </a:cubicBezTo>
                <a:cubicBezTo>
                  <a:pt x="19366250" y="11498580"/>
                  <a:pt x="21665662" y="9199168"/>
                  <a:pt x="21665662" y="6362700"/>
                </a:cubicBezTo>
                <a:cubicBezTo>
                  <a:pt x="21665662" y="3526232"/>
                  <a:pt x="19366250" y="1226820"/>
                  <a:pt x="16529782" y="1226820"/>
                </a:cubicBezTo>
                <a:close/>
                <a:moveTo>
                  <a:pt x="0" y="0"/>
                </a:moveTo>
                <a:lnTo>
                  <a:pt x="22860000" y="0"/>
                </a:lnTo>
                <a:lnTo>
                  <a:pt x="22860000" y="12344400"/>
                </a:lnTo>
                <a:lnTo>
                  <a:pt x="0" y="12344400"/>
                </a:lnTo>
                <a:close/>
              </a:path>
            </a:pathLst>
          </a:custGeom>
          <a:gradFill>
            <a:gsLst>
              <a:gs pos="99000">
                <a:srgbClr val="21AD84"/>
              </a:gs>
              <a:gs pos="52000">
                <a:srgbClr val="7030A0">
                  <a:alpha val="79000"/>
                </a:srgbClr>
              </a:gs>
              <a:gs pos="0">
                <a:srgbClr val="DD02F8">
                  <a:alpha val="68000"/>
                </a:srgb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vi-VN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0ED30CCA-1A49-AF9C-6C94-5232DBA09C04}"/>
              </a:ext>
            </a:extLst>
          </p:cNvPr>
          <p:cNvSpPr/>
          <p:nvPr/>
        </p:nvSpPr>
        <p:spPr>
          <a:xfrm>
            <a:off x="381743" y="343302"/>
            <a:ext cx="11428512" cy="6171396"/>
          </a:xfrm>
          <a:custGeom>
            <a:avLst/>
            <a:gdLst>
              <a:gd name="connsiteX0" fmla="*/ 16529782 w 22860000"/>
              <a:gd name="connsiteY0" fmla="*/ 190500 h 12344400"/>
              <a:gd name="connsiteX1" fmla="*/ 10548083 w 22860000"/>
              <a:gd name="connsiteY1" fmla="*/ 6172200 h 12344400"/>
              <a:gd name="connsiteX2" fmla="*/ 16529782 w 22860000"/>
              <a:gd name="connsiteY2" fmla="*/ 12153900 h 12344400"/>
              <a:gd name="connsiteX3" fmla="*/ 22511482 w 22860000"/>
              <a:gd name="connsiteY3" fmla="*/ 6172200 h 12344400"/>
              <a:gd name="connsiteX4" fmla="*/ 16529782 w 22860000"/>
              <a:gd name="connsiteY4" fmla="*/ 190500 h 12344400"/>
              <a:gd name="connsiteX5" fmla="*/ 0 w 22860000"/>
              <a:gd name="connsiteY5" fmla="*/ 0 h 12344400"/>
              <a:gd name="connsiteX6" fmla="*/ 22860000 w 22860000"/>
              <a:gd name="connsiteY6" fmla="*/ 0 h 12344400"/>
              <a:gd name="connsiteX7" fmla="*/ 22860000 w 22860000"/>
              <a:gd name="connsiteY7" fmla="*/ 12344400 h 12344400"/>
              <a:gd name="connsiteX8" fmla="*/ 0 w 22860000"/>
              <a:gd name="connsiteY8" fmla="*/ 12344400 h 123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60000" h="12344400">
                <a:moveTo>
                  <a:pt x="16529782" y="190500"/>
                </a:moveTo>
                <a:cubicBezTo>
                  <a:pt x="13226181" y="190500"/>
                  <a:pt x="10548083" y="2868598"/>
                  <a:pt x="10548083" y="6172200"/>
                </a:cubicBezTo>
                <a:cubicBezTo>
                  <a:pt x="10548083" y="9475802"/>
                  <a:pt x="13226181" y="12153900"/>
                  <a:pt x="16529782" y="12153900"/>
                </a:cubicBezTo>
                <a:cubicBezTo>
                  <a:pt x="19833386" y="12153900"/>
                  <a:pt x="22511482" y="9475802"/>
                  <a:pt x="22511482" y="6172200"/>
                </a:cubicBezTo>
                <a:cubicBezTo>
                  <a:pt x="22511482" y="2868598"/>
                  <a:pt x="19833386" y="190500"/>
                  <a:pt x="16529782" y="190500"/>
                </a:cubicBezTo>
                <a:close/>
                <a:moveTo>
                  <a:pt x="0" y="0"/>
                </a:moveTo>
                <a:lnTo>
                  <a:pt x="22860000" y="0"/>
                </a:lnTo>
                <a:lnTo>
                  <a:pt x="22860000" y="12344400"/>
                </a:lnTo>
                <a:lnTo>
                  <a:pt x="0" y="12344400"/>
                </a:lnTo>
                <a:close/>
              </a:path>
            </a:pathLst>
          </a:custGeom>
          <a:solidFill>
            <a:schemeClr val="bg1">
              <a:alpha val="44000"/>
            </a:schemeClr>
          </a:solidFill>
          <a:ln>
            <a:noFill/>
          </a:ln>
          <a:effectLst>
            <a:outerShdw blurRad="1270000" dist="266700" algn="l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vi-VN" sz="90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2014C11D-D255-E852-ADC2-75E26F2ACC33}"/>
              </a:ext>
            </a:extLst>
          </p:cNvPr>
          <p:cNvSpPr/>
          <p:nvPr/>
        </p:nvSpPr>
        <p:spPr>
          <a:xfrm>
            <a:off x="381745" y="343302"/>
            <a:ext cx="11428511" cy="6170994"/>
          </a:xfrm>
          <a:custGeom>
            <a:avLst/>
            <a:gdLst>
              <a:gd name="connsiteX0" fmla="*/ 22859999 w 22859999"/>
              <a:gd name="connsiteY0" fmla="*/ 8966371 h 12344400"/>
              <a:gd name="connsiteX1" fmla="*/ 22859999 w 22859999"/>
              <a:gd name="connsiteY1" fmla="*/ 12344400 h 12344400"/>
              <a:gd name="connsiteX2" fmla="*/ 19656609 w 22859999"/>
              <a:gd name="connsiteY2" fmla="*/ 12344400 h 12344400"/>
              <a:gd name="connsiteX3" fmla="*/ 19828049 w 22859999"/>
              <a:gd name="connsiteY3" fmla="*/ 12256594 h 12344400"/>
              <a:gd name="connsiteX4" fmla="*/ 22766987 w 22859999"/>
              <a:gd name="connsiteY4" fmla="*/ 9172110 h 12344400"/>
              <a:gd name="connsiteX5" fmla="*/ 19656609 w 22859999"/>
              <a:gd name="connsiteY5" fmla="*/ 0 h 12344400"/>
              <a:gd name="connsiteX6" fmla="*/ 22859999 w 22859999"/>
              <a:gd name="connsiteY6" fmla="*/ 0 h 12344400"/>
              <a:gd name="connsiteX7" fmla="*/ 22859999 w 22859999"/>
              <a:gd name="connsiteY7" fmla="*/ 3378029 h 12344400"/>
              <a:gd name="connsiteX8" fmla="*/ 22766987 w 22859999"/>
              <a:gd name="connsiteY8" fmla="*/ 3172291 h 12344400"/>
              <a:gd name="connsiteX9" fmla="*/ 19828049 w 22859999"/>
              <a:gd name="connsiteY9" fmla="*/ 87806 h 12344400"/>
              <a:gd name="connsiteX10" fmla="*/ 0 w 22859999"/>
              <a:gd name="connsiteY10" fmla="*/ 0 h 12344400"/>
              <a:gd name="connsiteX11" fmla="*/ 13402954 w 22859999"/>
              <a:gd name="connsiteY11" fmla="*/ 0 h 12344400"/>
              <a:gd name="connsiteX12" fmla="*/ 13231515 w 22859999"/>
              <a:gd name="connsiteY12" fmla="*/ 87806 h 12344400"/>
              <a:gd name="connsiteX13" fmla="*/ 9610236 w 22859999"/>
              <a:gd name="connsiteY13" fmla="*/ 6172200 h 12344400"/>
              <a:gd name="connsiteX14" fmla="*/ 13231515 w 22859999"/>
              <a:gd name="connsiteY14" fmla="*/ 12256594 h 12344400"/>
              <a:gd name="connsiteX15" fmla="*/ 13402954 w 22859999"/>
              <a:gd name="connsiteY15" fmla="*/ 12344400 h 12344400"/>
              <a:gd name="connsiteX16" fmla="*/ 0 w 22859999"/>
              <a:gd name="connsiteY16" fmla="*/ 12344400 h 123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2859999" h="12344400">
                <a:moveTo>
                  <a:pt x="22859999" y="8966371"/>
                </a:moveTo>
                <a:lnTo>
                  <a:pt x="22859999" y="12344400"/>
                </a:lnTo>
                <a:lnTo>
                  <a:pt x="19656609" y="12344400"/>
                </a:lnTo>
                <a:lnTo>
                  <a:pt x="19828049" y="12256594"/>
                </a:lnTo>
                <a:cubicBezTo>
                  <a:pt x="21102637" y="11564196"/>
                  <a:pt x="22135349" y="10482969"/>
                  <a:pt x="22766987" y="9172110"/>
                </a:cubicBezTo>
                <a:close/>
                <a:moveTo>
                  <a:pt x="19656609" y="0"/>
                </a:moveTo>
                <a:lnTo>
                  <a:pt x="22859999" y="0"/>
                </a:lnTo>
                <a:lnTo>
                  <a:pt x="22859999" y="3378029"/>
                </a:lnTo>
                <a:lnTo>
                  <a:pt x="22766987" y="3172291"/>
                </a:lnTo>
                <a:cubicBezTo>
                  <a:pt x="22135349" y="1861432"/>
                  <a:pt x="21102637" y="780204"/>
                  <a:pt x="19828049" y="87806"/>
                </a:cubicBezTo>
                <a:close/>
                <a:moveTo>
                  <a:pt x="0" y="0"/>
                </a:moveTo>
                <a:lnTo>
                  <a:pt x="13402954" y="0"/>
                </a:lnTo>
                <a:lnTo>
                  <a:pt x="13231515" y="87806"/>
                </a:lnTo>
                <a:cubicBezTo>
                  <a:pt x="11074519" y="1259557"/>
                  <a:pt x="9610236" y="3544878"/>
                  <a:pt x="9610236" y="6172200"/>
                </a:cubicBezTo>
                <a:cubicBezTo>
                  <a:pt x="9610236" y="8799523"/>
                  <a:pt x="11074519" y="11084843"/>
                  <a:pt x="13231515" y="12256594"/>
                </a:cubicBezTo>
                <a:lnTo>
                  <a:pt x="13402954" y="12344400"/>
                </a:lnTo>
                <a:lnTo>
                  <a:pt x="0" y="12344400"/>
                </a:lnTo>
                <a:close/>
              </a:path>
            </a:pathLst>
          </a:custGeom>
          <a:solidFill>
            <a:schemeClr val="bg1">
              <a:alpha val="6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vi-VN" sz="9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8C4C4A9-931A-1D7D-CB40-93EE8D5A5CF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269856" y="2463086"/>
            <a:ext cx="3235189" cy="193142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4000" b="1" dirty="0">
                <a:solidFill>
                  <a:schemeClr val="tx1">
                    <a:lumMod val="95000"/>
                    <a:lumOff val="5000"/>
                  </a:schemeClr>
                </a:solidFill>
                <a:ea typeface="Roboto" panose="02000000000000000000" pitchFamily="2" charset="0"/>
                <a:cs typeface="Poppins" panose="00000500000000000000" pitchFamily="50" charset="0"/>
              </a:rPr>
              <a:t>THANKS FOR WATCH 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9C8D3-7E62-A898-62A7-0A7F8AECB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BCB46-63A1-4E91-AD39-9DC1D6579614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3175273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B74B5B78-577E-4672-4609-CD96639C0CF9}"/>
              </a:ext>
            </a:extLst>
          </p:cNvPr>
          <p:cNvSpPr/>
          <p:nvPr/>
        </p:nvSpPr>
        <p:spPr>
          <a:xfrm flipH="1">
            <a:off x="-1" y="0"/>
            <a:ext cx="5508153" cy="5848640"/>
          </a:xfrm>
          <a:custGeom>
            <a:avLst/>
            <a:gdLst>
              <a:gd name="connsiteX0" fmla="*/ 3957903 w 5477896"/>
              <a:gd name="connsiteY0" fmla="*/ 5816513 h 5816513"/>
              <a:gd name="connsiteX1" fmla="*/ 0 w 5477896"/>
              <a:gd name="connsiteY1" fmla="*/ 1858610 h 5816513"/>
              <a:gd name="connsiteX2" fmla="*/ 311032 w 5477896"/>
              <a:gd name="connsiteY2" fmla="*/ 318016 h 5816513"/>
              <a:gd name="connsiteX3" fmla="*/ 464228 w 5477896"/>
              <a:gd name="connsiteY3" fmla="*/ 0 h 5816513"/>
              <a:gd name="connsiteX4" fmla="*/ 5477896 w 5477896"/>
              <a:gd name="connsiteY4" fmla="*/ 0 h 5816513"/>
              <a:gd name="connsiteX5" fmla="*/ 5477896 w 5477896"/>
              <a:gd name="connsiteY5" fmla="*/ 5513604 h 5816513"/>
              <a:gd name="connsiteX6" fmla="*/ 5318762 w 5477896"/>
              <a:gd name="connsiteY6" fmla="*/ 5576349 h 5816513"/>
              <a:gd name="connsiteX7" fmla="*/ 3957903 w 5477896"/>
              <a:gd name="connsiteY7" fmla="*/ 5816513 h 5816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477896" h="5816513">
                <a:moveTo>
                  <a:pt x="3957903" y="5816513"/>
                </a:moveTo>
                <a:cubicBezTo>
                  <a:pt x="1772013" y="5816513"/>
                  <a:pt x="0" y="4044500"/>
                  <a:pt x="0" y="1858610"/>
                </a:cubicBezTo>
                <a:cubicBezTo>
                  <a:pt x="0" y="1312139"/>
                  <a:pt x="110751" y="791533"/>
                  <a:pt x="311032" y="318016"/>
                </a:cubicBezTo>
                <a:lnTo>
                  <a:pt x="464228" y="0"/>
                </a:lnTo>
                <a:lnTo>
                  <a:pt x="5477896" y="0"/>
                </a:lnTo>
                <a:lnTo>
                  <a:pt x="5477896" y="5513604"/>
                </a:lnTo>
                <a:lnTo>
                  <a:pt x="5318762" y="5576349"/>
                </a:lnTo>
                <a:cubicBezTo>
                  <a:pt x="4894424" y="5731719"/>
                  <a:pt x="4436066" y="5816513"/>
                  <a:pt x="3957903" y="5816513"/>
                </a:cubicBezTo>
                <a:close/>
              </a:path>
            </a:pathLst>
          </a:custGeom>
          <a:gradFill>
            <a:gsLst>
              <a:gs pos="42200">
                <a:srgbClr val="4C53B8"/>
              </a:gs>
              <a:gs pos="100000">
                <a:srgbClr val="21AD84"/>
              </a:gs>
              <a:gs pos="0">
                <a:srgbClr val="DD02F8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Marcador de posición de imagen 3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4" t="1074" r="265" b="5658"/>
          <a:stretch/>
        </p:blipFill>
        <p:spPr>
          <a:xfrm>
            <a:off x="0" y="1425221"/>
            <a:ext cx="5294489" cy="5294489"/>
          </a:xfrm>
          <a:solidFill>
            <a:schemeClr val="bg1">
              <a:lumMod val="85000"/>
            </a:schemeClr>
          </a:solidFill>
        </p:spPr>
      </p:pic>
      <p:sp>
        <p:nvSpPr>
          <p:cNvPr id="10" name="Title 11">
            <a:extLst>
              <a:ext uri="{FF2B5EF4-FFF2-40B4-BE49-F238E27FC236}">
                <a16:creationId xmlns:a16="http://schemas.microsoft.com/office/drawing/2014/main" id="{13BCB567-D330-8FD1-1DCF-CC7DC13B6EB4}"/>
              </a:ext>
            </a:extLst>
          </p:cNvPr>
          <p:cNvSpPr txBox="1">
            <a:spLocks/>
          </p:cNvSpPr>
          <p:nvPr/>
        </p:nvSpPr>
        <p:spPr>
          <a:xfrm>
            <a:off x="5948606" y="1154287"/>
            <a:ext cx="5101753" cy="801005"/>
          </a:xfrm>
          <a:prstGeom prst="rect">
            <a:avLst/>
          </a:prstGeom>
        </p:spPr>
        <p:txBody>
          <a:bodyPr vert="horz" wrap="square" lIns="91416" tIns="45708" rIns="91416" bIns="45708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Roboto" panose="02000000000000000000" pitchFamily="2" charset="0"/>
                <a:cs typeface="Poppins" panose="00000500000000000000" pitchFamily="50" charset="0"/>
              </a:rPr>
              <a:t>INTRODUCTION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74B78B2-08BA-210A-E4CE-B4AB074CC227}"/>
              </a:ext>
            </a:extLst>
          </p:cNvPr>
          <p:cNvSpPr/>
          <p:nvPr/>
        </p:nvSpPr>
        <p:spPr>
          <a:xfrm>
            <a:off x="5948606" y="1945383"/>
            <a:ext cx="5508153" cy="40626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s-VE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Computer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Vision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is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 a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critical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field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 in artificial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intelligence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that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enables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 machines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to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interpret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 and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understand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the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 visual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world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. </a:t>
            </a:r>
          </a:p>
          <a:p>
            <a:pPr>
              <a:lnSpc>
                <a:spcPct val="150000"/>
              </a:lnSpc>
            </a:pPr>
            <a:endParaRPr lang="es-VE" sz="1200" dirty="0">
              <a:solidFill>
                <a:schemeClr val="bg2">
                  <a:lumMod val="25000"/>
                </a:schemeClr>
              </a:solidFill>
              <a:latin typeface="+mj-lt"/>
            </a:endParaRPr>
          </a:p>
          <a:p>
            <a:pPr>
              <a:lnSpc>
                <a:spcPct val="150000"/>
              </a:lnSpc>
            </a:pPr>
            <a:r>
              <a:rPr lang="es-VE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This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presentation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focuses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on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key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advancements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made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 in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computer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vision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during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the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 1970s and 1980s.</a:t>
            </a:r>
          </a:p>
          <a:p>
            <a:pPr>
              <a:lnSpc>
                <a:spcPct val="150000"/>
              </a:lnSpc>
            </a:pPr>
            <a:endParaRPr lang="es-VE" sz="1400" dirty="0">
              <a:solidFill>
                <a:schemeClr val="bg2">
                  <a:lumMod val="25000"/>
                </a:schemeClr>
              </a:solidFill>
              <a:latin typeface="+mj-lt"/>
            </a:endParaRPr>
          </a:p>
          <a:p>
            <a:pPr>
              <a:lnSpc>
                <a:spcPct val="150000"/>
              </a:lnSpc>
            </a:pPr>
            <a:r>
              <a:rPr lang="es-VE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This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 era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laid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the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groundwork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for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modern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computer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vision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systems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used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today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 in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self-driving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 cars, facial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recognition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, and medical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imaging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.</a:t>
            </a:r>
            <a:endParaRPr lang="en-US" dirty="0">
              <a:solidFill>
                <a:schemeClr val="bg2">
                  <a:lumMod val="25000"/>
                </a:schemeClr>
              </a:solidFill>
              <a:latin typeface="+mj-lt"/>
              <a:cs typeface="Segoe UI Light" panose="020B0502040204020203" pitchFamily="34" charset="0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372322A4-1177-0B0B-12BC-5A95C59F478F}"/>
              </a:ext>
            </a:extLst>
          </p:cNvPr>
          <p:cNvGrpSpPr/>
          <p:nvPr/>
        </p:nvGrpSpPr>
        <p:grpSpPr>
          <a:xfrm>
            <a:off x="342905" y="220112"/>
            <a:ext cx="1832368" cy="461665"/>
            <a:chOff x="342905" y="6473150"/>
            <a:chExt cx="1832368" cy="461665"/>
          </a:xfrm>
        </p:grpSpPr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D622E8C9-5F37-5C65-ABFF-591BF8A7E798}"/>
                </a:ext>
              </a:extLst>
            </p:cNvPr>
            <p:cNvSpPr/>
            <p:nvPr/>
          </p:nvSpPr>
          <p:spPr>
            <a:xfrm>
              <a:off x="359247" y="6484041"/>
              <a:ext cx="1671958" cy="317500"/>
            </a:xfrm>
            <a:prstGeom prst="roundRect">
              <a:avLst>
                <a:gd name="adj" fmla="val 50000"/>
              </a:avLst>
            </a:prstGeom>
            <a:solidFill>
              <a:srgbClr val="21AD8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3D2E3E85-74A1-E68D-1F33-5053C9948E14}"/>
                </a:ext>
              </a:extLst>
            </p:cNvPr>
            <p:cNvSpPr txBox="1"/>
            <p:nvPr/>
          </p:nvSpPr>
          <p:spPr>
            <a:xfrm>
              <a:off x="342905" y="6473150"/>
              <a:ext cx="132397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800" dirty="0">
                  <a:solidFill>
                    <a:schemeClr val="bg1"/>
                  </a:solidFill>
                  <a:ea typeface="Open Sans" panose="020B0606030504020204" pitchFamily="34" charset="0"/>
                  <a:cs typeface="Poppins" panose="00000500000000000000" pitchFamily="50" charset="0"/>
                </a:rPr>
                <a:t>The </a:t>
              </a:r>
              <a:r>
                <a:rPr lang="en-US" sz="800" b="1" dirty="0">
                  <a:solidFill>
                    <a:schemeClr val="bg1"/>
                  </a:solidFill>
                  <a:ea typeface="Open Sans" panose="020B0606030504020204" pitchFamily="34" charset="0"/>
                  <a:cs typeface="Poppins" panose="00000500000000000000" pitchFamily="50" charset="0"/>
                </a:rPr>
                <a:t>Evolution of Computer Vision </a:t>
              </a:r>
              <a:r>
                <a:rPr lang="en-US" sz="700" dirty="0">
                  <a:solidFill>
                    <a:schemeClr val="bg1"/>
                  </a:solidFill>
                  <a:ea typeface="Open Sans" panose="020B0606030504020204" pitchFamily="34" charset="0"/>
                  <a:cs typeface="Poppins" panose="00000500000000000000" pitchFamily="50" charset="0"/>
                </a:rPr>
                <a:t>1970s – 1980s</a:t>
              </a:r>
            </a:p>
            <a:p>
              <a:pPr algn="r"/>
              <a:endParaRPr lang="en-US" sz="800" b="1" dirty="0">
                <a:solidFill>
                  <a:schemeClr val="bg1"/>
                </a:solidFill>
                <a:ea typeface="Open Sans" panose="020B0606030504020204" pitchFamily="34" charset="0"/>
                <a:cs typeface="Poppins" panose="00000500000000000000" pitchFamily="50" charset="0"/>
              </a:endParaRPr>
            </a:p>
          </p:txBody>
        </p: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72CEFE7C-EA20-BEBE-CB39-7C7F094B2DD5}"/>
                </a:ext>
              </a:extLst>
            </p:cNvPr>
            <p:cNvSpPr/>
            <p:nvPr/>
          </p:nvSpPr>
          <p:spPr>
            <a:xfrm>
              <a:off x="1653778" y="6484041"/>
              <a:ext cx="521495" cy="31750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99000">
                  <a:srgbClr val="21AD84"/>
                </a:gs>
                <a:gs pos="52000">
                  <a:srgbClr val="7030A0">
                    <a:alpha val="79000"/>
                  </a:srgbClr>
                </a:gs>
                <a:gs pos="0">
                  <a:srgbClr val="DD02F8">
                    <a:alpha val="68000"/>
                  </a:srgbClr>
                </a:gs>
              </a:gsLst>
              <a:lin ang="10800000" scaled="1"/>
              <a:tileRect/>
            </a:gra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C445DE6-A72D-04B2-D39B-0E6FAB61EF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58270" y="207190"/>
            <a:ext cx="712509" cy="365125"/>
          </a:xfrm>
        </p:spPr>
        <p:txBody>
          <a:bodyPr/>
          <a:lstStyle/>
          <a:p>
            <a:fld id="{131BCB46-63A1-4E91-AD39-9DC1D6579614}" type="slidenum">
              <a:rPr lang="en-US" sz="1600" b="1" smtClean="0">
                <a:latin typeface="+mn-lt"/>
              </a:rPr>
              <a:t>2</a:t>
            </a:fld>
            <a:endParaRPr lang="en-US" sz="1600" b="1" dirty="0">
              <a:latin typeface="+mn-lt"/>
            </a:endParaRPr>
          </a:p>
        </p:txBody>
      </p:sp>
      <p:cxnSp>
        <p:nvCxnSpPr>
          <p:cNvPr id="18" name="Straight Connector 15">
            <a:extLst>
              <a:ext uri="{FF2B5EF4-FFF2-40B4-BE49-F238E27FC236}">
                <a16:creationId xmlns:a16="http://schemas.microsoft.com/office/drawing/2014/main" id="{1C716F8E-ED4B-3D3F-CC28-4D0E565C678D}"/>
              </a:ext>
            </a:extLst>
          </p:cNvPr>
          <p:cNvCxnSpPr>
            <a:cxnSpLocks/>
          </p:cNvCxnSpPr>
          <p:nvPr/>
        </p:nvCxnSpPr>
        <p:spPr>
          <a:xfrm>
            <a:off x="2266871" y="393627"/>
            <a:ext cx="836945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itle 11">
            <a:extLst>
              <a:ext uri="{FF2B5EF4-FFF2-40B4-BE49-F238E27FC236}">
                <a16:creationId xmlns:a16="http://schemas.microsoft.com/office/drawing/2014/main" id="{13BCB567-D330-8FD1-1DCF-CC7DC13B6EB4}"/>
              </a:ext>
            </a:extLst>
          </p:cNvPr>
          <p:cNvSpPr txBox="1">
            <a:spLocks/>
          </p:cNvSpPr>
          <p:nvPr/>
        </p:nvSpPr>
        <p:spPr>
          <a:xfrm>
            <a:off x="9530167" y="279282"/>
            <a:ext cx="2395520" cy="220940"/>
          </a:xfrm>
          <a:prstGeom prst="rect">
            <a:avLst/>
          </a:prstGeom>
        </p:spPr>
        <p:txBody>
          <a:bodyPr vert="horz" wrap="square" lIns="91416" tIns="45708" rIns="91416" bIns="45708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800" dirty="0">
                <a:solidFill>
                  <a:schemeClr val="bg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Poppins" panose="00000500000000000000" pitchFamily="50" charset="0"/>
              </a:rPr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3421670940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9D9A0F86-3E4A-FC87-5EE0-53E6AC5DE19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99000">
                <a:srgbClr val="21AD84">
                  <a:alpha val="90000"/>
                </a:srgbClr>
              </a:gs>
              <a:gs pos="46000">
                <a:srgbClr val="4C53B8"/>
              </a:gs>
              <a:gs pos="0">
                <a:srgbClr val="DD02F8">
                  <a:alpha val="95000"/>
                </a:srgbClr>
              </a:gs>
            </a:gsLst>
            <a:lin ang="18900000" scaled="1"/>
            <a:tileRect/>
          </a:gradFill>
          <a:ln w="285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4E2649DE-58DA-25C8-8155-B536468039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443472"/>
          </a:xfrm>
          <a:prstGeom prst="rect">
            <a:avLst/>
          </a:prstGeom>
        </p:spPr>
      </p:pic>
      <p:sp>
        <p:nvSpPr>
          <p:cNvPr id="31" name="Title 11">
            <a:extLst>
              <a:ext uri="{FF2B5EF4-FFF2-40B4-BE49-F238E27FC236}">
                <a16:creationId xmlns:a16="http://schemas.microsoft.com/office/drawing/2014/main" id="{13BCB567-D330-8FD1-1DCF-CC7DC13B6EB4}"/>
              </a:ext>
            </a:extLst>
          </p:cNvPr>
          <p:cNvSpPr txBox="1">
            <a:spLocks/>
          </p:cNvSpPr>
          <p:nvPr/>
        </p:nvSpPr>
        <p:spPr>
          <a:xfrm>
            <a:off x="3545123" y="1154287"/>
            <a:ext cx="5101753" cy="801005"/>
          </a:xfrm>
          <a:prstGeom prst="rect">
            <a:avLst/>
          </a:prstGeom>
        </p:spPr>
        <p:txBody>
          <a:bodyPr vert="horz" wrap="square" lIns="91416" tIns="45708" rIns="91416" bIns="45708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>
                <a:solidFill>
                  <a:schemeClr val="bg1"/>
                </a:solidFill>
                <a:latin typeface="+mn-lt"/>
                <a:ea typeface="Roboto" panose="02000000000000000000" pitchFamily="2" charset="0"/>
                <a:cs typeface="Poppins" panose="00000500000000000000" pitchFamily="50" charset="0"/>
              </a:rPr>
              <a:t>KEY MILESTONES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826F5F0F-1793-CFCC-3F41-38808A9E22FB}"/>
              </a:ext>
            </a:extLst>
          </p:cNvPr>
          <p:cNvSpPr txBox="1">
            <a:spLocks/>
          </p:cNvSpPr>
          <p:nvPr/>
        </p:nvSpPr>
        <p:spPr>
          <a:xfrm>
            <a:off x="895185" y="4359882"/>
            <a:ext cx="1042970" cy="550441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Source Sans Pro Black" charset="0"/>
                <a:ea typeface="Source Sans Pro Black" charset="0"/>
                <a:cs typeface="Source Sans Pro Black" charset="0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  <a:latin typeface="+mn-lt"/>
                <a:ea typeface="Source Sans Pro" charset="0"/>
                <a:cs typeface="Poppins" panose="00000500000000000000" pitchFamily="50" charset="0"/>
              </a:rPr>
              <a:t>1970s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F21DF3EA-A078-979C-69F6-91F0F7D4E15C}"/>
              </a:ext>
            </a:extLst>
          </p:cNvPr>
          <p:cNvSpPr txBox="1">
            <a:spLocks/>
          </p:cNvSpPr>
          <p:nvPr/>
        </p:nvSpPr>
        <p:spPr>
          <a:xfrm>
            <a:off x="3848516" y="4433490"/>
            <a:ext cx="1408609" cy="403225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Source Sans Pro Black" charset="0"/>
                <a:ea typeface="Source Sans Pro Black" charset="0"/>
                <a:cs typeface="Source Sans Pro Black" charset="0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  <a:latin typeface="+mn-lt"/>
                <a:ea typeface="Source Sans Pro" charset="0"/>
                <a:cs typeface="Poppins" panose="00000500000000000000" pitchFamily="50" charset="0"/>
              </a:rPr>
              <a:t>1980s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CC9130D7-3E82-299C-3611-297438C66011}"/>
              </a:ext>
            </a:extLst>
          </p:cNvPr>
          <p:cNvSpPr txBox="1">
            <a:spLocks/>
          </p:cNvSpPr>
          <p:nvPr/>
        </p:nvSpPr>
        <p:spPr>
          <a:xfrm>
            <a:off x="6987133" y="4433490"/>
            <a:ext cx="1408609" cy="403225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Source Sans Pro Black" charset="0"/>
                <a:ea typeface="Source Sans Pro Black" charset="0"/>
                <a:cs typeface="Source Sans Pro Black" charset="0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  <a:latin typeface="+mn-lt"/>
                <a:ea typeface="Source Sans Pro" charset="0"/>
                <a:cs typeface="Poppins" panose="00000500000000000000" pitchFamily="50" charset="0"/>
              </a:rPr>
              <a:t>1980s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96A6AD94-BAE0-2A25-543C-3B5523327419}"/>
              </a:ext>
            </a:extLst>
          </p:cNvPr>
          <p:cNvSpPr txBox="1">
            <a:spLocks/>
          </p:cNvSpPr>
          <p:nvPr/>
        </p:nvSpPr>
        <p:spPr>
          <a:xfrm>
            <a:off x="10091585" y="4433490"/>
            <a:ext cx="1408609" cy="403225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Source Sans Pro Black" charset="0"/>
                <a:ea typeface="Source Sans Pro Black" charset="0"/>
                <a:cs typeface="Source Sans Pro Black" charset="0"/>
              </a:defRPr>
            </a:lvl1pPr>
          </a:lstStyle>
          <a:p>
            <a:pPr algn="ctr"/>
            <a:r>
              <a:rPr lang="en-US" sz="2400" dirty="0">
                <a:solidFill>
                  <a:schemeClr val="bg1"/>
                </a:solidFill>
                <a:latin typeface="+mn-lt"/>
                <a:ea typeface="Source Sans Pro" charset="0"/>
                <a:cs typeface="Poppins" panose="00000500000000000000" pitchFamily="50" charset="0"/>
              </a:rPr>
              <a:t>Late 1980s</a:t>
            </a:r>
          </a:p>
        </p:txBody>
      </p:sp>
      <p:sp>
        <p:nvSpPr>
          <p:cNvPr id="36" name="Rectangle 34">
            <a:extLst>
              <a:ext uri="{FF2B5EF4-FFF2-40B4-BE49-F238E27FC236}">
                <a16:creationId xmlns:a16="http://schemas.microsoft.com/office/drawing/2014/main" id="{24B50E21-A117-F214-265E-DC7F0F6BBD7B}"/>
              </a:ext>
            </a:extLst>
          </p:cNvPr>
          <p:cNvSpPr/>
          <p:nvPr/>
        </p:nvSpPr>
        <p:spPr>
          <a:xfrm>
            <a:off x="741443" y="5003123"/>
            <a:ext cx="1633653" cy="5921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s-VE" sz="1400" b="1" dirty="0">
                <a:solidFill>
                  <a:schemeClr val="bg1"/>
                </a:solidFill>
              </a:rPr>
              <a:t>DAVID MARR’S </a:t>
            </a:r>
            <a:r>
              <a:rPr lang="es-VE" sz="1400" dirty="0">
                <a:solidFill>
                  <a:schemeClr val="bg1"/>
                </a:solidFill>
              </a:rPr>
              <a:t>THEORY OF VISION</a:t>
            </a:r>
            <a:endParaRPr lang="en-US" sz="1400" dirty="0">
              <a:solidFill>
                <a:schemeClr val="bg1"/>
              </a:solidFill>
              <a:cs typeface="Segoe UI Light" panose="020B0502040204020203" pitchFamily="34" charset="0"/>
            </a:endParaRPr>
          </a:p>
        </p:txBody>
      </p:sp>
      <p:sp>
        <p:nvSpPr>
          <p:cNvPr id="37" name="Rectangle 35">
            <a:extLst>
              <a:ext uri="{FF2B5EF4-FFF2-40B4-BE49-F238E27FC236}">
                <a16:creationId xmlns:a16="http://schemas.microsoft.com/office/drawing/2014/main" id="{39B1E3B9-578A-CC9E-B26C-DFE4E65779E5}"/>
              </a:ext>
            </a:extLst>
          </p:cNvPr>
          <p:cNvSpPr/>
          <p:nvPr/>
        </p:nvSpPr>
        <p:spPr>
          <a:xfrm>
            <a:off x="3750832" y="5011720"/>
            <a:ext cx="1633653" cy="6093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s-VE" sz="1400" b="1" dirty="0">
                <a:solidFill>
                  <a:schemeClr val="bg1"/>
                </a:solidFill>
              </a:rPr>
              <a:t>MEDICAL IMAGING SYSTEMS</a:t>
            </a:r>
            <a:endParaRPr lang="en-US" sz="1400" b="1" dirty="0">
              <a:solidFill>
                <a:schemeClr val="bg1"/>
              </a:solidFill>
              <a:cs typeface="Segoe UI Light" panose="020B0502040204020203" pitchFamily="34" charset="0"/>
            </a:endParaRPr>
          </a:p>
        </p:txBody>
      </p:sp>
      <p:sp>
        <p:nvSpPr>
          <p:cNvPr id="38" name="Rectangle 36">
            <a:extLst>
              <a:ext uri="{FF2B5EF4-FFF2-40B4-BE49-F238E27FC236}">
                <a16:creationId xmlns:a16="http://schemas.microsoft.com/office/drawing/2014/main" id="{212D3462-58B1-7FE1-9A28-8750B61A32DD}"/>
              </a:ext>
            </a:extLst>
          </p:cNvPr>
          <p:cNvSpPr/>
          <p:nvPr/>
        </p:nvSpPr>
        <p:spPr>
          <a:xfrm>
            <a:off x="6892847" y="5026008"/>
            <a:ext cx="1895395" cy="3508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s-VE" sz="1400" b="1" dirty="0">
                <a:solidFill>
                  <a:schemeClr val="bg1"/>
                </a:solidFill>
              </a:rPr>
              <a:t>INDUSTRIAL ROBOTICS</a:t>
            </a:r>
            <a:endParaRPr lang="en-US" sz="1400" b="1" dirty="0">
              <a:solidFill>
                <a:schemeClr val="bg1"/>
              </a:solidFill>
              <a:cs typeface="Segoe UI Light" panose="020B0502040204020203" pitchFamily="34" charset="0"/>
            </a:endParaRPr>
          </a:p>
        </p:txBody>
      </p:sp>
      <p:sp>
        <p:nvSpPr>
          <p:cNvPr id="39" name="Rectangle 37">
            <a:extLst>
              <a:ext uri="{FF2B5EF4-FFF2-40B4-BE49-F238E27FC236}">
                <a16:creationId xmlns:a16="http://schemas.microsoft.com/office/drawing/2014/main" id="{B76DA495-ADAB-9116-7702-F935C1DD69C6}"/>
              </a:ext>
            </a:extLst>
          </p:cNvPr>
          <p:cNvSpPr/>
          <p:nvPr/>
        </p:nvSpPr>
        <p:spPr>
          <a:xfrm>
            <a:off x="10050033" y="5026010"/>
            <a:ext cx="1847079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s-VE" sz="1400" b="1" dirty="0">
                <a:solidFill>
                  <a:schemeClr val="bg1"/>
                </a:solidFill>
              </a:rPr>
              <a:t>JOHN S. LIM’S </a:t>
            </a:r>
          </a:p>
          <a:p>
            <a:pPr>
              <a:lnSpc>
                <a:spcPct val="120000"/>
              </a:lnSpc>
            </a:pPr>
            <a:r>
              <a:rPr lang="es-VE" sz="1400" dirty="0">
                <a:solidFill>
                  <a:schemeClr val="bg1"/>
                </a:solidFill>
              </a:rPr>
              <a:t>OBJECT  RECOGNITION ALGORITHMS</a:t>
            </a:r>
            <a:endParaRPr lang="en-US" sz="1400" dirty="0">
              <a:solidFill>
                <a:schemeClr val="bg1"/>
              </a:solidFill>
              <a:cs typeface="Segoe UI Light" panose="020B0502040204020203" pitchFamily="34" charset="0"/>
            </a:endParaRPr>
          </a:p>
        </p:txBody>
      </p:sp>
      <p:sp>
        <p:nvSpPr>
          <p:cNvPr id="40" name="Title 11">
            <a:extLst>
              <a:ext uri="{FF2B5EF4-FFF2-40B4-BE49-F238E27FC236}">
                <a16:creationId xmlns:a16="http://schemas.microsoft.com/office/drawing/2014/main" id="{1B0B36BC-237E-4194-F6B5-C01B2DDCCB3C}"/>
              </a:ext>
            </a:extLst>
          </p:cNvPr>
          <p:cNvSpPr txBox="1">
            <a:spLocks/>
          </p:cNvSpPr>
          <p:nvPr/>
        </p:nvSpPr>
        <p:spPr>
          <a:xfrm>
            <a:off x="4378420" y="1096765"/>
            <a:ext cx="3435161" cy="192764"/>
          </a:xfrm>
          <a:prstGeom prst="rect">
            <a:avLst/>
          </a:prstGeom>
        </p:spPr>
        <p:txBody>
          <a:bodyPr vert="horz" lIns="91416" tIns="45708" rIns="91416" bIns="45708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400" dirty="0">
                <a:solidFill>
                  <a:schemeClr val="bg1"/>
                </a:solidFill>
                <a:ea typeface="Roboto" panose="02000000000000000000" pitchFamily="2" charset="0"/>
                <a:cs typeface="Open Sans Light" panose="020B0306030504020204" pitchFamily="34" charset="0"/>
              </a:rPr>
              <a:t>Timeline</a:t>
            </a:r>
          </a:p>
        </p:txBody>
      </p:sp>
      <p:grpSp>
        <p:nvGrpSpPr>
          <p:cNvPr id="41" name="Group 34">
            <a:extLst>
              <a:ext uri="{FF2B5EF4-FFF2-40B4-BE49-F238E27FC236}">
                <a16:creationId xmlns:a16="http://schemas.microsoft.com/office/drawing/2014/main" id="{372322A4-1177-0B0B-12BC-5A95C59F478F}"/>
              </a:ext>
            </a:extLst>
          </p:cNvPr>
          <p:cNvGrpSpPr/>
          <p:nvPr/>
        </p:nvGrpSpPr>
        <p:grpSpPr>
          <a:xfrm>
            <a:off x="342905" y="220112"/>
            <a:ext cx="1832368" cy="461665"/>
            <a:chOff x="342905" y="6473150"/>
            <a:chExt cx="1832368" cy="461665"/>
          </a:xfrm>
        </p:grpSpPr>
        <p:sp>
          <p:nvSpPr>
            <p:cNvPr id="42" name="Rectangle: Rounded Corners 35">
              <a:extLst>
                <a:ext uri="{FF2B5EF4-FFF2-40B4-BE49-F238E27FC236}">
                  <a16:creationId xmlns:a16="http://schemas.microsoft.com/office/drawing/2014/main" id="{D622E8C9-5F37-5C65-ABFF-591BF8A7E798}"/>
                </a:ext>
              </a:extLst>
            </p:cNvPr>
            <p:cNvSpPr/>
            <p:nvPr/>
          </p:nvSpPr>
          <p:spPr>
            <a:xfrm>
              <a:off x="359247" y="6484041"/>
              <a:ext cx="1671958" cy="317500"/>
            </a:xfrm>
            <a:prstGeom prst="roundRect">
              <a:avLst>
                <a:gd name="adj" fmla="val 50000"/>
              </a:avLst>
            </a:prstGeom>
            <a:solidFill>
              <a:srgbClr val="21AD8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TextBox 36">
              <a:extLst>
                <a:ext uri="{FF2B5EF4-FFF2-40B4-BE49-F238E27FC236}">
                  <a16:creationId xmlns:a16="http://schemas.microsoft.com/office/drawing/2014/main" id="{3D2E3E85-74A1-E68D-1F33-5053C9948E14}"/>
                </a:ext>
              </a:extLst>
            </p:cNvPr>
            <p:cNvSpPr txBox="1"/>
            <p:nvPr/>
          </p:nvSpPr>
          <p:spPr>
            <a:xfrm>
              <a:off x="342905" y="6473150"/>
              <a:ext cx="132397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800" dirty="0">
                  <a:solidFill>
                    <a:schemeClr val="bg1"/>
                  </a:solidFill>
                  <a:ea typeface="Open Sans" panose="020B0606030504020204" pitchFamily="34" charset="0"/>
                  <a:cs typeface="Poppins" panose="00000500000000000000" pitchFamily="50" charset="0"/>
                </a:rPr>
                <a:t>The </a:t>
              </a:r>
              <a:r>
                <a:rPr lang="en-US" sz="800" b="1" dirty="0">
                  <a:solidFill>
                    <a:schemeClr val="bg1"/>
                  </a:solidFill>
                  <a:ea typeface="Open Sans" panose="020B0606030504020204" pitchFamily="34" charset="0"/>
                  <a:cs typeface="Poppins" panose="00000500000000000000" pitchFamily="50" charset="0"/>
                </a:rPr>
                <a:t>Evolution of Computer Vision </a:t>
              </a:r>
              <a:r>
                <a:rPr lang="en-US" sz="700" dirty="0">
                  <a:solidFill>
                    <a:schemeClr val="bg1"/>
                  </a:solidFill>
                  <a:ea typeface="Open Sans" panose="020B0606030504020204" pitchFamily="34" charset="0"/>
                  <a:cs typeface="Poppins" panose="00000500000000000000" pitchFamily="50" charset="0"/>
                </a:rPr>
                <a:t>1970s – 1980s</a:t>
              </a:r>
            </a:p>
            <a:p>
              <a:pPr algn="r"/>
              <a:endParaRPr lang="en-US" sz="800" b="1" dirty="0">
                <a:solidFill>
                  <a:schemeClr val="bg1"/>
                </a:solidFill>
                <a:ea typeface="Open Sans" panose="020B0606030504020204" pitchFamily="34" charset="0"/>
                <a:cs typeface="Poppins" panose="00000500000000000000" pitchFamily="50" charset="0"/>
              </a:endParaRPr>
            </a:p>
          </p:txBody>
        </p:sp>
        <p:sp>
          <p:nvSpPr>
            <p:cNvPr id="44" name="Rectangle: Rounded Corners 37">
              <a:extLst>
                <a:ext uri="{FF2B5EF4-FFF2-40B4-BE49-F238E27FC236}">
                  <a16:creationId xmlns:a16="http://schemas.microsoft.com/office/drawing/2014/main" id="{72CEFE7C-EA20-BEBE-CB39-7C7F094B2DD5}"/>
                </a:ext>
              </a:extLst>
            </p:cNvPr>
            <p:cNvSpPr/>
            <p:nvPr/>
          </p:nvSpPr>
          <p:spPr>
            <a:xfrm>
              <a:off x="1653778" y="6484041"/>
              <a:ext cx="521495" cy="31750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99000">
                  <a:srgbClr val="21AD84"/>
                </a:gs>
                <a:gs pos="52000">
                  <a:srgbClr val="7030A0">
                    <a:alpha val="79000"/>
                  </a:srgbClr>
                </a:gs>
                <a:gs pos="0">
                  <a:srgbClr val="DD02F8">
                    <a:alpha val="68000"/>
                  </a:srgbClr>
                </a:gs>
              </a:gsLst>
              <a:lin ang="10800000" scaled="1"/>
              <a:tileRect/>
            </a:gra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45" name="Slide Number Placeholder 2">
            <a:extLst>
              <a:ext uri="{FF2B5EF4-FFF2-40B4-BE49-F238E27FC236}">
                <a16:creationId xmlns:a16="http://schemas.microsoft.com/office/drawing/2014/main" id="{2C445DE6-A72D-04B2-D39B-0E6FAB61EF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58270" y="207190"/>
            <a:ext cx="712509" cy="365125"/>
          </a:xfrm>
        </p:spPr>
        <p:txBody>
          <a:bodyPr/>
          <a:lstStyle/>
          <a:p>
            <a:r>
              <a:rPr lang="en-US" sz="1600" b="1" dirty="0">
                <a:latin typeface="+mn-lt"/>
              </a:rPr>
              <a:t>3</a:t>
            </a:r>
          </a:p>
        </p:txBody>
      </p:sp>
      <p:cxnSp>
        <p:nvCxnSpPr>
          <p:cNvPr id="46" name="Straight Connector 15">
            <a:extLst>
              <a:ext uri="{FF2B5EF4-FFF2-40B4-BE49-F238E27FC236}">
                <a16:creationId xmlns:a16="http://schemas.microsoft.com/office/drawing/2014/main" id="{1C716F8E-ED4B-3D3F-CC28-4D0E565C678D}"/>
              </a:ext>
            </a:extLst>
          </p:cNvPr>
          <p:cNvCxnSpPr>
            <a:cxnSpLocks/>
          </p:cNvCxnSpPr>
          <p:nvPr/>
        </p:nvCxnSpPr>
        <p:spPr>
          <a:xfrm>
            <a:off x="2266871" y="393627"/>
            <a:ext cx="836945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itle 11">
            <a:extLst>
              <a:ext uri="{FF2B5EF4-FFF2-40B4-BE49-F238E27FC236}">
                <a16:creationId xmlns:a16="http://schemas.microsoft.com/office/drawing/2014/main" id="{13BCB567-D330-8FD1-1DCF-CC7DC13B6EB4}"/>
              </a:ext>
            </a:extLst>
          </p:cNvPr>
          <p:cNvSpPr txBox="1">
            <a:spLocks/>
          </p:cNvSpPr>
          <p:nvPr/>
        </p:nvSpPr>
        <p:spPr>
          <a:xfrm>
            <a:off x="9530167" y="279282"/>
            <a:ext cx="2395520" cy="220940"/>
          </a:xfrm>
          <a:prstGeom prst="rect">
            <a:avLst/>
          </a:prstGeom>
        </p:spPr>
        <p:txBody>
          <a:bodyPr vert="horz" wrap="square" lIns="91416" tIns="45708" rIns="91416" bIns="45708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800" dirty="0">
                <a:solidFill>
                  <a:schemeClr val="bg1"/>
                </a:solidFill>
                <a:latin typeface="+mn-lt"/>
                <a:ea typeface="Roboto" panose="02000000000000000000" pitchFamily="2" charset="0"/>
                <a:cs typeface="Poppins" panose="00000500000000000000" pitchFamily="50" charset="0"/>
              </a:rPr>
              <a:t>Timeline</a:t>
            </a:r>
          </a:p>
        </p:txBody>
      </p:sp>
      <p:sp>
        <p:nvSpPr>
          <p:cNvPr id="25" name="Freeform: Shape 5">
            <a:extLst>
              <a:ext uri="{FF2B5EF4-FFF2-40B4-BE49-F238E27FC236}">
                <a16:creationId xmlns:a16="http://schemas.microsoft.com/office/drawing/2014/main" id="{8C4146BD-FE9C-F760-08BE-228FE4104FE1}"/>
              </a:ext>
            </a:extLst>
          </p:cNvPr>
          <p:cNvSpPr/>
          <p:nvPr/>
        </p:nvSpPr>
        <p:spPr>
          <a:xfrm>
            <a:off x="441637" y="2363719"/>
            <a:ext cx="11232524" cy="1655243"/>
          </a:xfrm>
          <a:custGeom>
            <a:avLst/>
            <a:gdLst>
              <a:gd name="connsiteX0" fmla="*/ 986814 w 13785143"/>
              <a:gd name="connsiteY0" fmla="*/ 419 h 2031401"/>
              <a:gd name="connsiteX1" fmla="*/ 1986920 w 13785143"/>
              <a:gd name="connsiteY1" fmla="*/ 719468 h 2031401"/>
              <a:gd name="connsiteX2" fmla="*/ 2214636 w 13785143"/>
              <a:gd name="connsiteY2" fmla="*/ 887691 h 2031401"/>
              <a:gd name="connsiteX3" fmla="*/ 3734795 w 13785143"/>
              <a:gd name="connsiteY3" fmla="*/ 887691 h 2031401"/>
              <a:gd name="connsiteX4" fmla="*/ 3962511 w 13785143"/>
              <a:gd name="connsiteY4" fmla="*/ 718443 h 2031401"/>
              <a:gd name="connsiteX5" fmla="*/ 3988870 w 13785143"/>
              <a:gd name="connsiteY5" fmla="*/ 651930 h 2031401"/>
              <a:gd name="connsiteX6" fmla="*/ 3993968 w 13785143"/>
              <a:gd name="connsiteY6" fmla="*/ 634812 h 2031401"/>
              <a:gd name="connsiteX7" fmla="*/ 4000862 w 13785143"/>
              <a:gd name="connsiteY7" fmla="*/ 621669 h 2031401"/>
              <a:gd name="connsiteX8" fmla="*/ 4022005 w 13785143"/>
              <a:gd name="connsiteY8" fmla="*/ 568317 h 2031401"/>
              <a:gd name="connsiteX9" fmla="*/ 4080290 w 13785143"/>
              <a:gd name="connsiteY9" fmla="*/ 470242 h 2031401"/>
              <a:gd name="connsiteX10" fmla="*/ 4084138 w 13785143"/>
              <a:gd name="connsiteY10" fmla="*/ 462907 h 2031401"/>
              <a:gd name="connsiteX11" fmla="*/ 4086155 w 13785143"/>
              <a:gd name="connsiteY11" fmla="*/ 460374 h 2031401"/>
              <a:gd name="connsiteX12" fmla="*/ 4103616 w 13785143"/>
              <a:gd name="connsiteY12" fmla="*/ 430993 h 2031401"/>
              <a:gd name="connsiteX13" fmla="*/ 4324344 w 13785143"/>
              <a:gd name="connsiteY13" fmla="*/ 203645 h 2031401"/>
              <a:gd name="connsiteX14" fmla="*/ 4346864 w 13785143"/>
              <a:gd name="connsiteY14" fmla="*/ 189338 h 2031401"/>
              <a:gd name="connsiteX15" fmla="*/ 4350544 w 13785143"/>
              <a:gd name="connsiteY15" fmla="*/ 186171 h 2031401"/>
              <a:gd name="connsiteX16" fmla="*/ 4432201 w 13785143"/>
              <a:gd name="connsiteY16" fmla="*/ 133959 h 2031401"/>
              <a:gd name="connsiteX17" fmla="*/ 4441620 w 13785143"/>
              <a:gd name="connsiteY17" fmla="*/ 129136 h 2031401"/>
              <a:gd name="connsiteX18" fmla="*/ 4459037 w 13785143"/>
              <a:gd name="connsiteY18" fmla="*/ 118070 h 2031401"/>
              <a:gd name="connsiteX19" fmla="*/ 4485739 w 13785143"/>
              <a:gd name="connsiteY19" fmla="*/ 106542 h 2031401"/>
              <a:gd name="connsiteX20" fmla="*/ 4518895 w 13785143"/>
              <a:gd name="connsiteY20" fmla="*/ 89563 h 2031401"/>
              <a:gd name="connsiteX21" fmla="*/ 4592074 w 13785143"/>
              <a:gd name="connsiteY21" fmla="*/ 60635 h 2031401"/>
              <a:gd name="connsiteX22" fmla="*/ 4607001 w 13785143"/>
              <a:gd name="connsiteY22" fmla="*/ 54191 h 2031401"/>
              <a:gd name="connsiteX23" fmla="*/ 4612829 w 13785143"/>
              <a:gd name="connsiteY23" fmla="*/ 52726 h 2031401"/>
              <a:gd name="connsiteX24" fmla="*/ 4705421 w 13785143"/>
              <a:gd name="connsiteY24" fmla="*/ 26275 h 2031401"/>
              <a:gd name="connsiteX25" fmla="*/ 4750577 w 13785143"/>
              <a:gd name="connsiteY25" fmla="*/ 18114 h 2031401"/>
              <a:gd name="connsiteX26" fmla="*/ 4766024 w 13785143"/>
              <a:gd name="connsiteY26" fmla="*/ 14233 h 2031401"/>
              <a:gd name="connsiteX27" fmla="*/ 4777096 w 13785143"/>
              <a:gd name="connsiteY27" fmla="*/ 13322 h 2031401"/>
              <a:gd name="connsiteX28" fmla="*/ 4804267 w 13785143"/>
              <a:gd name="connsiteY28" fmla="*/ 8411 h 2031401"/>
              <a:gd name="connsiteX29" fmla="*/ 4906178 w 13785143"/>
              <a:gd name="connsiteY29" fmla="*/ 419 h 2031401"/>
              <a:gd name="connsiteX30" fmla="*/ 4922478 w 13785143"/>
              <a:gd name="connsiteY30" fmla="*/ 1359 h 2031401"/>
              <a:gd name="connsiteX31" fmla="*/ 4933894 w 13785143"/>
              <a:gd name="connsiteY31" fmla="*/ 419 h 2031401"/>
              <a:gd name="connsiteX32" fmla="*/ 4998688 w 13785143"/>
              <a:gd name="connsiteY32" fmla="*/ 5751 h 2031401"/>
              <a:gd name="connsiteX33" fmla="*/ 5078733 w 13785143"/>
              <a:gd name="connsiteY33" fmla="*/ 10364 h 2031401"/>
              <a:gd name="connsiteX34" fmla="*/ 5092182 w 13785143"/>
              <a:gd name="connsiteY34" fmla="*/ 13444 h 2031401"/>
              <a:gd name="connsiteX35" fmla="*/ 5101765 w 13785143"/>
              <a:gd name="connsiteY35" fmla="*/ 14233 h 2031401"/>
              <a:gd name="connsiteX36" fmla="*/ 5164915 w 13785143"/>
              <a:gd name="connsiteY36" fmla="*/ 30101 h 2031401"/>
              <a:gd name="connsiteX37" fmla="*/ 5242464 w 13785143"/>
              <a:gd name="connsiteY37" fmla="*/ 47860 h 2031401"/>
              <a:gd name="connsiteX38" fmla="*/ 5253272 w 13785143"/>
              <a:gd name="connsiteY38" fmla="*/ 52302 h 2031401"/>
              <a:gd name="connsiteX39" fmla="*/ 5260788 w 13785143"/>
              <a:gd name="connsiteY39" fmla="*/ 54191 h 2031401"/>
              <a:gd name="connsiteX40" fmla="*/ 5318771 w 13785143"/>
              <a:gd name="connsiteY40" fmla="*/ 79223 h 2031401"/>
              <a:gd name="connsiteX41" fmla="*/ 5394992 w 13785143"/>
              <a:gd name="connsiteY41" fmla="*/ 110551 h 2031401"/>
              <a:gd name="connsiteX42" fmla="*/ 5403577 w 13785143"/>
              <a:gd name="connsiteY42" fmla="*/ 115835 h 2031401"/>
              <a:gd name="connsiteX43" fmla="*/ 5408752 w 13785143"/>
              <a:gd name="connsiteY43" fmla="*/ 118070 h 2031401"/>
              <a:gd name="connsiteX44" fmla="*/ 5456877 w 13785143"/>
              <a:gd name="connsiteY44" fmla="*/ 148645 h 2031401"/>
              <a:gd name="connsiteX45" fmla="*/ 5533937 w 13785143"/>
              <a:gd name="connsiteY45" fmla="*/ 196080 h 2031401"/>
              <a:gd name="connsiteX46" fmla="*/ 5540658 w 13785143"/>
              <a:gd name="connsiteY46" fmla="*/ 201874 h 2031401"/>
              <a:gd name="connsiteX47" fmla="*/ 5543446 w 13785143"/>
              <a:gd name="connsiteY47" fmla="*/ 203645 h 2031401"/>
              <a:gd name="connsiteX48" fmla="*/ 5576394 w 13785143"/>
              <a:gd name="connsiteY48" fmla="*/ 232679 h 2031401"/>
              <a:gd name="connsiteX49" fmla="*/ 5656919 w 13785143"/>
              <a:gd name="connsiteY49" fmla="*/ 302093 h 2031401"/>
              <a:gd name="connsiteX50" fmla="*/ 5661980 w 13785143"/>
              <a:gd name="connsiteY50" fmla="*/ 308097 h 2031401"/>
              <a:gd name="connsiteX51" fmla="*/ 5662657 w 13785143"/>
              <a:gd name="connsiteY51" fmla="*/ 308694 h 2031401"/>
              <a:gd name="connsiteX52" fmla="*/ 5673929 w 13785143"/>
              <a:gd name="connsiteY52" fmla="*/ 322274 h 2031401"/>
              <a:gd name="connsiteX53" fmla="*/ 5761557 w 13785143"/>
              <a:gd name="connsiteY53" fmla="*/ 426232 h 2031401"/>
              <a:gd name="connsiteX54" fmla="*/ 5906284 w 13785143"/>
              <a:gd name="connsiteY54" fmla="*/ 719468 h 2031401"/>
              <a:gd name="connsiteX55" fmla="*/ 6134000 w 13785143"/>
              <a:gd name="connsiteY55" fmla="*/ 887691 h 2031401"/>
              <a:gd name="connsiteX56" fmla="*/ 7653154 w 13785143"/>
              <a:gd name="connsiteY56" fmla="*/ 887691 h 2031401"/>
              <a:gd name="connsiteX57" fmla="*/ 7880870 w 13785143"/>
              <a:gd name="connsiteY57" fmla="*/ 719468 h 2031401"/>
              <a:gd name="connsiteX58" fmla="*/ 8391711 w 13785143"/>
              <a:gd name="connsiteY58" fmla="*/ 109829 h 2031401"/>
              <a:gd name="connsiteX59" fmla="*/ 8506652 w 13785143"/>
              <a:gd name="connsiteY59" fmla="*/ 62701 h 2031401"/>
              <a:gd name="connsiteX60" fmla="*/ 8526365 w 13785143"/>
              <a:gd name="connsiteY60" fmla="*/ 54191 h 2031401"/>
              <a:gd name="connsiteX61" fmla="*/ 8529060 w 13785143"/>
              <a:gd name="connsiteY61" fmla="*/ 53514 h 2031401"/>
              <a:gd name="connsiteX62" fmla="*/ 8544256 w 13785143"/>
              <a:gd name="connsiteY62" fmla="*/ 47283 h 2031401"/>
              <a:gd name="connsiteX63" fmla="*/ 8645091 w 13785143"/>
              <a:gd name="connsiteY63" fmla="*/ 24358 h 2031401"/>
              <a:gd name="connsiteX64" fmla="*/ 8685388 w 13785143"/>
              <a:gd name="connsiteY64" fmla="*/ 14233 h 2031401"/>
              <a:gd name="connsiteX65" fmla="*/ 8692034 w 13785143"/>
              <a:gd name="connsiteY65" fmla="*/ 13686 h 2031401"/>
              <a:gd name="connsiteX66" fmla="*/ 8708126 w 13785143"/>
              <a:gd name="connsiteY66" fmla="*/ 10027 h 2031401"/>
              <a:gd name="connsiteX67" fmla="*/ 8793574 w 13785143"/>
              <a:gd name="connsiteY67" fmla="*/ 1620 h 2031401"/>
              <a:gd name="connsiteX68" fmla="*/ 8847702 w 13785143"/>
              <a:gd name="connsiteY68" fmla="*/ 876 h 2031401"/>
              <a:gd name="connsiteX69" fmla="*/ 8853258 w 13785143"/>
              <a:gd name="connsiteY69" fmla="*/ 419 h 2031401"/>
              <a:gd name="connsiteX70" fmla="*/ 8857224 w 13785143"/>
              <a:gd name="connsiteY70" fmla="*/ 746 h 2031401"/>
              <a:gd name="connsiteX71" fmla="*/ 8880974 w 13785143"/>
              <a:gd name="connsiteY71" fmla="*/ 419 h 2031401"/>
              <a:gd name="connsiteX72" fmla="*/ 8982885 w 13785143"/>
              <a:gd name="connsiteY72" fmla="*/ 8411 h 2031401"/>
              <a:gd name="connsiteX73" fmla="*/ 9010055 w 13785143"/>
              <a:gd name="connsiteY73" fmla="*/ 13321 h 2031401"/>
              <a:gd name="connsiteX74" fmla="*/ 9021128 w 13785143"/>
              <a:gd name="connsiteY74" fmla="*/ 14233 h 2031401"/>
              <a:gd name="connsiteX75" fmla="*/ 9036581 w 13785143"/>
              <a:gd name="connsiteY75" fmla="*/ 18116 h 2031401"/>
              <a:gd name="connsiteX76" fmla="*/ 9081729 w 13785143"/>
              <a:gd name="connsiteY76" fmla="*/ 26275 h 2031401"/>
              <a:gd name="connsiteX77" fmla="*/ 9174217 w 13785143"/>
              <a:gd name="connsiteY77" fmla="*/ 52700 h 2031401"/>
              <a:gd name="connsiteX78" fmla="*/ 9180151 w 13785143"/>
              <a:gd name="connsiteY78" fmla="*/ 54191 h 2031401"/>
              <a:gd name="connsiteX79" fmla="*/ 9195262 w 13785143"/>
              <a:gd name="connsiteY79" fmla="*/ 60714 h 2031401"/>
              <a:gd name="connsiteX80" fmla="*/ 9268227 w 13785143"/>
              <a:gd name="connsiteY80" fmla="*/ 89563 h 2031401"/>
              <a:gd name="connsiteX81" fmla="*/ 9301138 w 13785143"/>
              <a:gd name="connsiteY81" fmla="*/ 106423 h 2031401"/>
              <a:gd name="connsiteX82" fmla="*/ 9328116 w 13785143"/>
              <a:gd name="connsiteY82" fmla="*/ 118070 h 2031401"/>
              <a:gd name="connsiteX83" fmla="*/ 9345779 w 13785143"/>
              <a:gd name="connsiteY83" fmla="*/ 129291 h 2031401"/>
              <a:gd name="connsiteX84" fmla="*/ 9354890 w 13785143"/>
              <a:gd name="connsiteY84" fmla="*/ 133959 h 2031401"/>
              <a:gd name="connsiteX85" fmla="*/ 9436502 w 13785143"/>
              <a:gd name="connsiteY85" fmla="*/ 186171 h 2031401"/>
              <a:gd name="connsiteX86" fmla="*/ 9439864 w 13785143"/>
              <a:gd name="connsiteY86" fmla="*/ 189067 h 2031401"/>
              <a:gd name="connsiteX87" fmla="*/ 9462810 w 13785143"/>
              <a:gd name="connsiteY87" fmla="*/ 203645 h 2031401"/>
              <a:gd name="connsiteX88" fmla="*/ 9683538 w 13785143"/>
              <a:gd name="connsiteY88" fmla="*/ 430993 h 2031401"/>
              <a:gd name="connsiteX89" fmla="*/ 9702474 w 13785143"/>
              <a:gd name="connsiteY89" fmla="*/ 462855 h 2031401"/>
              <a:gd name="connsiteX90" fmla="*/ 9702515 w 13785143"/>
              <a:gd name="connsiteY90" fmla="*/ 462907 h 2031401"/>
              <a:gd name="connsiteX91" fmla="*/ 9702592 w 13785143"/>
              <a:gd name="connsiteY91" fmla="*/ 463053 h 2031401"/>
              <a:gd name="connsiteX92" fmla="*/ 9765150 w 13785143"/>
              <a:gd name="connsiteY92" fmla="*/ 568317 h 2031401"/>
              <a:gd name="connsiteX93" fmla="*/ 9788926 w 13785143"/>
              <a:gd name="connsiteY93" fmla="*/ 628315 h 2031401"/>
              <a:gd name="connsiteX94" fmla="*/ 9792320 w 13785143"/>
              <a:gd name="connsiteY94" fmla="*/ 634812 h 2031401"/>
              <a:gd name="connsiteX95" fmla="*/ 9794711 w 13785143"/>
              <a:gd name="connsiteY95" fmla="*/ 642913 h 2031401"/>
              <a:gd name="connsiteX96" fmla="*/ 9824643 w 13785143"/>
              <a:gd name="connsiteY96" fmla="*/ 718443 h 2031401"/>
              <a:gd name="connsiteX97" fmla="*/ 10052359 w 13785143"/>
              <a:gd name="connsiteY97" fmla="*/ 887691 h 2031401"/>
              <a:gd name="connsiteX98" fmla="*/ 11572518 w 13785143"/>
              <a:gd name="connsiteY98" fmla="*/ 887691 h 2031401"/>
              <a:gd name="connsiteX99" fmla="*/ 11800234 w 13785143"/>
              <a:gd name="connsiteY99" fmla="*/ 719468 h 2031401"/>
              <a:gd name="connsiteX100" fmla="*/ 12800338 w 13785143"/>
              <a:gd name="connsiteY100" fmla="*/ 419 h 2031401"/>
              <a:gd name="connsiteX101" fmla="*/ 13785057 w 13785143"/>
              <a:gd name="connsiteY101" fmla="*/ 1025141 h 2031401"/>
              <a:gd name="connsiteX102" fmla="*/ 12769566 w 13785143"/>
              <a:gd name="connsiteY102" fmla="*/ 2031401 h 2031401"/>
              <a:gd name="connsiteX103" fmla="*/ 11798183 w 13785143"/>
              <a:gd name="connsiteY103" fmla="*/ 1313377 h 2031401"/>
              <a:gd name="connsiteX104" fmla="*/ 11570467 w 13785143"/>
              <a:gd name="connsiteY104" fmla="*/ 1144128 h 2031401"/>
              <a:gd name="connsiteX105" fmla="*/ 10051333 w 13785143"/>
              <a:gd name="connsiteY105" fmla="*/ 1144128 h 2031401"/>
              <a:gd name="connsiteX106" fmla="*/ 9823617 w 13785143"/>
              <a:gd name="connsiteY106" fmla="*/ 1313377 h 2031401"/>
              <a:gd name="connsiteX107" fmla="*/ 9786361 w 13785143"/>
              <a:gd name="connsiteY107" fmla="*/ 1407388 h 2031401"/>
              <a:gd name="connsiteX108" fmla="*/ 9783329 w 13785143"/>
              <a:gd name="connsiteY108" fmla="*/ 1416913 h 2031401"/>
              <a:gd name="connsiteX109" fmla="*/ 9780676 w 13785143"/>
              <a:gd name="connsiteY109" fmla="*/ 1421733 h 2031401"/>
              <a:gd name="connsiteX110" fmla="*/ 9764123 w 13785143"/>
              <a:gd name="connsiteY110" fmla="*/ 1463503 h 2031401"/>
              <a:gd name="connsiteX111" fmla="*/ 9580995 w 13785143"/>
              <a:gd name="connsiteY111" fmla="*/ 1723126 h 2031401"/>
              <a:gd name="connsiteX112" fmla="*/ 9554794 w 13785143"/>
              <a:gd name="connsiteY112" fmla="*/ 1746214 h 2031401"/>
              <a:gd name="connsiteX113" fmla="*/ 9493315 w 13785143"/>
              <a:gd name="connsiteY113" fmla="*/ 1801690 h 2031401"/>
              <a:gd name="connsiteX114" fmla="*/ 9483901 w 13785143"/>
              <a:gd name="connsiteY114" fmla="*/ 1808685 h 2031401"/>
              <a:gd name="connsiteX115" fmla="*/ 9461784 w 13785143"/>
              <a:gd name="connsiteY115" fmla="*/ 1828175 h 2031401"/>
              <a:gd name="connsiteX116" fmla="*/ 9433424 w 13785143"/>
              <a:gd name="connsiteY116" fmla="*/ 1846193 h 2031401"/>
              <a:gd name="connsiteX117" fmla="*/ 9415375 w 13785143"/>
              <a:gd name="connsiteY117" fmla="*/ 1859604 h 2031401"/>
              <a:gd name="connsiteX118" fmla="*/ 9353206 w 13785143"/>
              <a:gd name="connsiteY118" fmla="*/ 1897159 h 2031401"/>
              <a:gd name="connsiteX119" fmla="*/ 9327090 w 13785143"/>
              <a:gd name="connsiteY119" fmla="*/ 1913751 h 2031401"/>
              <a:gd name="connsiteX120" fmla="*/ 9297097 w 13785143"/>
              <a:gd name="connsiteY120" fmla="*/ 1926700 h 2031401"/>
              <a:gd name="connsiteX121" fmla="*/ 9243560 w 13785143"/>
              <a:gd name="connsiteY121" fmla="*/ 1952354 h 2031401"/>
              <a:gd name="connsiteX122" fmla="*/ 9205900 w 13785143"/>
              <a:gd name="connsiteY122" fmla="*/ 1966071 h 2031401"/>
              <a:gd name="connsiteX123" fmla="*/ 9179126 w 13785143"/>
              <a:gd name="connsiteY123" fmla="*/ 1977630 h 2031401"/>
              <a:gd name="connsiteX124" fmla="*/ 9163122 w 13785143"/>
              <a:gd name="connsiteY124" fmla="*/ 1981651 h 2031401"/>
              <a:gd name="connsiteX125" fmla="*/ 9150686 w 13785143"/>
              <a:gd name="connsiteY125" fmla="*/ 1986180 h 2031401"/>
              <a:gd name="connsiteX126" fmla="*/ 9053835 w 13785143"/>
              <a:gd name="connsiteY126" fmla="*/ 2010966 h 2031401"/>
              <a:gd name="connsiteX127" fmla="*/ 9035168 w 13785143"/>
              <a:gd name="connsiteY127" fmla="*/ 2013802 h 2031401"/>
              <a:gd name="connsiteX128" fmla="*/ 9020103 w 13785143"/>
              <a:gd name="connsiteY128" fmla="*/ 2017588 h 2031401"/>
              <a:gd name="connsiteX129" fmla="*/ 8998609 w 13785143"/>
              <a:gd name="connsiteY129" fmla="*/ 2019356 h 2031401"/>
              <a:gd name="connsiteX130" fmla="*/ 8953507 w 13785143"/>
              <a:gd name="connsiteY130" fmla="*/ 2026208 h 2031401"/>
              <a:gd name="connsiteX131" fmla="*/ 8855421 w 13785143"/>
              <a:gd name="connsiteY131" fmla="*/ 2031139 h 2031401"/>
              <a:gd name="connsiteX132" fmla="*/ 8852233 w 13785143"/>
              <a:gd name="connsiteY132" fmla="*/ 2031401 h 2031401"/>
              <a:gd name="connsiteX133" fmla="*/ 8851463 w 13785143"/>
              <a:gd name="connsiteY133" fmla="*/ 2031338 h 2031401"/>
              <a:gd name="connsiteX134" fmla="*/ 8850202 w 13785143"/>
              <a:gd name="connsiteY134" fmla="*/ 2031401 h 2031401"/>
              <a:gd name="connsiteX135" fmla="*/ 7878819 w 13785143"/>
              <a:gd name="connsiteY135" fmla="*/ 1313377 h 2031401"/>
              <a:gd name="connsiteX136" fmla="*/ 7651103 w 13785143"/>
              <a:gd name="connsiteY136" fmla="*/ 1144128 h 2031401"/>
              <a:gd name="connsiteX137" fmla="*/ 6134000 w 13785143"/>
              <a:gd name="connsiteY137" fmla="*/ 1144128 h 2031401"/>
              <a:gd name="connsiteX138" fmla="*/ 5906284 w 13785143"/>
              <a:gd name="connsiteY138" fmla="*/ 1313377 h 2031401"/>
              <a:gd name="connsiteX139" fmla="*/ 4934900 w 13785143"/>
              <a:gd name="connsiteY139" fmla="*/ 2031401 h 2031401"/>
              <a:gd name="connsiteX140" fmla="*/ 4933639 w 13785143"/>
              <a:gd name="connsiteY140" fmla="*/ 2031338 h 2031401"/>
              <a:gd name="connsiteX141" fmla="*/ 4932869 w 13785143"/>
              <a:gd name="connsiteY141" fmla="*/ 2031401 h 2031401"/>
              <a:gd name="connsiteX142" fmla="*/ 4929682 w 13785143"/>
              <a:gd name="connsiteY142" fmla="*/ 2031139 h 2031401"/>
              <a:gd name="connsiteX143" fmla="*/ 4831595 w 13785143"/>
              <a:gd name="connsiteY143" fmla="*/ 2026208 h 2031401"/>
              <a:gd name="connsiteX144" fmla="*/ 4786491 w 13785143"/>
              <a:gd name="connsiteY144" fmla="*/ 2019356 h 2031401"/>
              <a:gd name="connsiteX145" fmla="*/ 4764999 w 13785143"/>
              <a:gd name="connsiteY145" fmla="*/ 2017588 h 2031401"/>
              <a:gd name="connsiteX146" fmla="*/ 4749936 w 13785143"/>
              <a:gd name="connsiteY146" fmla="*/ 2013803 h 2031401"/>
              <a:gd name="connsiteX147" fmla="*/ 4731266 w 13785143"/>
              <a:gd name="connsiteY147" fmla="*/ 2010966 h 2031401"/>
              <a:gd name="connsiteX148" fmla="*/ 4634415 w 13785143"/>
              <a:gd name="connsiteY148" fmla="*/ 1986180 h 2031401"/>
              <a:gd name="connsiteX149" fmla="*/ 4621978 w 13785143"/>
              <a:gd name="connsiteY149" fmla="*/ 1981651 h 2031401"/>
              <a:gd name="connsiteX150" fmla="*/ 4605976 w 13785143"/>
              <a:gd name="connsiteY150" fmla="*/ 1977630 h 2031401"/>
              <a:gd name="connsiteX151" fmla="*/ 4579205 w 13785143"/>
              <a:gd name="connsiteY151" fmla="*/ 1966072 h 2031401"/>
              <a:gd name="connsiteX152" fmla="*/ 4541541 w 13785143"/>
              <a:gd name="connsiteY152" fmla="*/ 1952354 h 2031401"/>
              <a:gd name="connsiteX153" fmla="*/ 4488001 w 13785143"/>
              <a:gd name="connsiteY153" fmla="*/ 1926698 h 2031401"/>
              <a:gd name="connsiteX154" fmla="*/ 4458012 w 13785143"/>
              <a:gd name="connsiteY154" fmla="*/ 1913751 h 2031401"/>
              <a:gd name="connsiteX155" fmla="*/ 4431903 w 13785143"/>
              <a:gd name="connsiteY155" fmla="*/ 1897163 h 2031401"/>
              <a:gd name="connsiteX156" fmla="*/ 4369726 w 13785143"/>
              <a:gd name="connsiteY156" fmla="*/ 1859604 h 2031401"/>
              <a:gd name="connsiteX157" fmla="*/ 4351676 w 13785143"/>
              <a:gd name="connsiteY157" fmla="*/ 1846191 h 2031401"/>
              <a:gd name="connsiteX158" fmla="*/ 4323318 w 13785143"/>
              <a:gd name="connsiteY158" fmla="*/ 1828175 h 2031401"/>
              <a:gd name="connsiteX159" fmla="*/ 4301202 w 13785143"/>
              <a:gd name="connsiteY159" fmla="*/ 1808686 h 2031401"/>
              <a:gd name="connsiteX160" fmla="*/ 4291786 w 13785143"/>
              <a:gd name="connsiteY160" fmla="*/ 1801690 h 2031401"/>
              <a:gd name="connsiteX161" fmla="*/ 4230299 w 13785143"/>
              <a:gd name="connsiteY161" fmla="*/ 1746206 h 2031401"/>
              <a:gd name="connsiteX162" fmla="*/ 4204107 w 13785143"/>
              <a:gd name="connsiteY162" fmla="*/ 1723126 h 2031401"/>
              <a:gd name="connsiteX163" fmla="*/ 4020979 w 13785143"/>
              <a:gd name="connsiteY163" fmla="*/ 1463503 h 2031401"/>
              <a:gd name="connsiteX164" fmla="*/ 4004426 w 13785143"/>
              <a:gd name="connsiteY164" fmla="*/ 1421734 h 2031401"/>
              <a:gd name="connsiteX165" fmla="*/ 4001773 w 13785143"/>
              <a:gd name="connsiteY165" fmla="*/ 1416913 h 2031401"/>
              <a:gd name="connsiteX166" fmla="*/ 3998740 w 13785143"/>
              <a:gd name="connsiteY166" fmla="*/ 1407385 h 2031401"/>
              <a:gd name="connsiteX167" fmla="*/ 3961486 w 13785143"/>
              <a:gd name="connsiteY167" fmla="*/ 1313377 h 2031401"/>
              <a:gd name="connsiteX168" fmla="*/ 3733769 w 13785143"/>
              <a:gd name="connsiteY168" fmla="*/ 1144128 h 2031401"/>
              <a:gd name="connsiteX169" fmla="*/ 2214636 w 13785143"/>
              <a:gd name="connsiteY169" fmla="*/ 1144128 h 2031401"/>
              <a:gd name="connsiteX170" fmla="*/ 1986920 w 13785143"/>
              <a:gd name="connsiteY170" fmla="*/ 1313377 h 2031401"/>
              <a:gd name="connsiteX171" fmla="*/ 1015535 w 13785143"/>
              <a:gd name="connsiteY171" fmla="*/ 2031401 h 2031401"/>
              <a:gd name="connsiteX172" fmla="*/ 44 w 13785143"/>
              <a:gd name="connsiteY172" fmla="*/ 1025141 h 2031401"/>
              <a:gd name="connsiteX173" fmla="*/ 986814 w 13785143"/>
              <a:gd name="connsiteY173" fmla="*/ 419 h 2031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</a:cxnLst>
            <a:rect l="l" t="t" r="r" b="b"/>
            <a:pathLst>
              <a:path w="13785143" h="2031401">
                <a:moveTo>
                  <a:pt x="986814" y="419"/>
                </a:moveTo>
                <a:cubicBezTo>
                  <a:pt x="1456607" y="-11890"/>
                  <a:pt x="1857675" y="294808"/>
                  <a:pt x="1986920" y="719468"/>
                </a:cubicBezTo>
                <a:cubicBezTo>
                  <a:pt x="2017692" y="819992"/>
                  <a:pt x="2110010" y="887691"/>
                  <a:pt x="2214636" y="887691"/>
                </a:cubicBezTo>
                <a:lnTo>
                  <a:pt x="3734795" y="887691"/>
                </a:lnTo>
                <a:cubicBezTo>
                  <a:pt x="3839421" y="887691"/>
                  <a:pt x="3931739" y="818966"/>
                  <a:pt x="3962511" y="718443"/>
                </a:cubicBezTo>
                <a:lnTo>
                  <a:pt x="3988870" y="651930"/>
                </a:lnTo>
                <a:lnTo>
                  <a:pt x="3993968" y="634812"/>
                </a:lnTo>
                <a:lnTo>
                  <a:pt x="4000862" y="621669"/>
                </a:lnTo>
                <a:lnTo>
                  <a:pt x="4022005" y="568317"/>
                </a:lnTo>
                <a:lnTo>
                  <a:pt x="4080290" y="470242"/>
                </a:lnTo>
                <a:lnTo>
                  <a:pt x="4084138" y="462907"/>
                </a:lnTo>
                <a:lnTo>
                  <a:pt x="4086155" y="460374"/>
                </a:lnTo>
                <a:lnTo>
                  <a:pt x="4103616" y="430993"/>
                </a:lnTo>
                <a:cubicBezTo>
                  <a:pt x="4164904" y="344205"/>
                  <a:pt x="4239463" y="267434"/>
                  <a:pt x="4324344" y="203645"/>
                </a:cubicBezTo>
                <a:lnTo>
                  <a:pt x="4346864" y="189338"/>
                </a:lnTo>
                <a:lnTo>
                  <a:pt x="4350544" y="186171"/>
                </a:lnTo>
                <a:cubicBezTo>
                  <a:pt x="4376869" y="167522"/>
                  <a:pt x="4404115" y="150089"/>
                  <a:pt x="4432201" y="133959"/>
                </a:cubicBezTo>
                <a:lnTo>
                  <a:pt x="4441620" y="129136"/>
                </a:lnTo>
                <a:lnTo>
                  <a:pt x="4459037" y="118070"/>
                </a:lnTo>
                <a:lnTo>
                  <a:pt x="4485739" y="106542"/>
                </a:lnTo>
                <a:lnTo>
                  <a:pt x="4518895" y="89563"/>
                </a:lnTo>
                <a:lnTo>
                  <a:pt x="4592074" y="60635"/>
                </a:lnTo>
                <a:lnTo>
                  <a:pt x="4607001" y="54191"/>
                </a:lnTo>
                <a:lnTo>
                  <a:pt x="4612829" y="52726"/>
                </a:lnTo>
                <a:lnTo>
                  <a:pt x="4705421" y="26275"/>
                </a:lnTo>
                <a:lnTo>
                  <a:pt x="4750577" y="18114"/>
                </a:lnTo>
                <a:lnTo>
                  <a:pt x="4766024" y="14233"/>
                </a:lnTo>
                <a:lnTo>
                  <a:pt x="4777096" y="13322"/>
                </a:lnTo>
                <a:lnTo>
                  <a:pt x="4804267" y="8411"/>
                </a:lnTo>
                <a:cubicBezTo>
                  <a:pt x="4837754" y="4073"/>
                  <a:pt x="4871752" y="1381"/>
                  <a:pt x="4906178" y="419"/>
                </a:cubicBezTo>
                <a:lnTo>
                  <a:pt x="4922478" y="1359"/>
                </a:lnTo>
                <a:lnTo>
                  <a:pt x="4933894" y="419"/>
                </a:lnTo>
                <a:lnTo>
                  <a:pt x="4998688" y="5751"/>
                </a:lnTo>
                <a:lnTo>
                  <a:pt x="5078733" y="10364"/>
                </a:lnTo>
                <a:lnTo>
                  <a:pt x="5092182" y="13444"/>
                </a:lnTo>
                <a:lnTo>
                  <a:pt x="5101765" y="14233"/>
                </a:lnTo>
                <a:lnTo>
                  <a:pt x="5164915" y="30101"/>
                </a:lnTo>
                <a:lnTo>
                  <a:pt x="5242464" y="47860"/>
                </a:lnTo>
                <a:lnTo>
                  <a:pt x="5253272" y="52302"/>
                </a:lnTo>
                <a:lnTo>
                  <a:pt x="5260788" y="54191"/>
                </a:lnTo>
                <a:lnTo>
                  <a:pt x="5318771" y="79223"/>
                </a:lnTo>
                <a:lnTo>
                  <a:pt x="5394992" y="110551"/>
                </a:lnTo>
                <a:lnTo>
                  <a:pt x="5403577" y="115835"/>
                </a:lnTo>
                <a:lnTo>
                  <a:pt x="5408752" y="118070"/>
                </a:lnTo>
                <a:lnTo>
                  <a:pt x="5456877" y="148645"/>
                </a:lnTo>
                <a:lnTo>
                  <a:pt x="5533937" y="196080"/>
                </a:lnTo>
                <a:lnTo>
                  <a:pt x="5540658" y="201874"/>
                </a:lnTo>
                <a:lnTo>
                  <a:pt x="5543446" y="203645"/>
                </a:lnTo>
                <a:lnTo>
                  <a:pt x="5576394" y="232679"/>
                </a:lnTo>
                <a:lnTo>
                  <a:pt x="5656919" y="302093"/>
                </a:lnTo>
                <a:lnTo>
                  <a:pt x="5661980" y="308097"/>
                </a:lnTo>
                <a:lnTo>
                  <a:pt x="5662657" y="308694"/>
                </a:lnTo>
                <a:lnTo>
                  <a:pt x="5673929" y="322274"/>
                </a:lnTo>
                <a:lnTo>
                  <a:pt x="5761557" y="426232"/>
                </a:lnTo>
                <a:cubicBezTo>
                  <a:pt x="5824673" y="514511"/>
                  <a:pt x="5873973" y="613303"/>
                  <a:pt x="5906284" y="719468"/>
                </a:cubicBezTo>
                <a:cubicBezTo>
                  <a:pt x="5937056" y="819992"/>
                  <a:pt x="6029373" y="887691"/>
                  <a:pt x="6134000" y="887691"/>
                </a:cubicBezTo>
                <a:lnTo>
                  <a:pt x="7653154" y="887691"/>
                </a:lnTo>
                <a:cubicBezTo>
                  <a:pt x="7757781" y="887691"/>
                  <a:pt x="7850097" y="818966"/>
                  <a:pt x="7880870" y="719468"/>
                </a:cubicBezTo>
                <a:cubicBezTo>
                  <a:pt x="7961648" y="453415"/>
                  <a:pt x="8148206" y="233841"/>
                  <a:pt x="8391711" y="109829"/>
                </a:cubicBezTo>
                <a:lnTo>
                  <a:pt x="8506652" y="62701"/>
                </a:lnTo>
                <a:lnTo>
                  <a:pt x="8526365" y="54191"/>
                </a:lnTo>
                <a:lnTo>
                  <a:pt x="8529060" y="53514"/>
                </a:lnTo>
                <a:lnTo>
                  <a:pt x="8544256" y="47283"/>
                </a:lnTo>
                <a:lnTo>
                  <a:pt x="8645091" y="24358"/>
                </a:lnTo>
                <a:lnTo>
                  <a:pt x="8685388" y="14233"/>
                </a:lnTo>
                <a:lnTo>
                  <a:pt x="8692034" y="13686"/>
                </a:lnTo>
                <a:lnTo>
                  <a:pt x="8708126" y="10027"/>
                </a:lnTo>
                <a:cubicBezTo>
                  <a:pt x="8736251" y="6057"/>
                  <a:pt x="8764750" y="3238"/>
                  <a:pt x="8793574" y="1620"/>
                </a:cubicBezTo>
                <a:lnTo>
                  <a:pt x="8847702" y="876"/>
                </a:lnTo>
                <a:lnTo>
                  <a:pt x="8853258" y="419"/>
                </a:lnTo>
                <a:lnTo>
                  <a:pt x="8857224" y="746"/>
                </a:lnTo>
                <a:lnTo>
                  <a:pt x="8880974" y="419"/>
                </a:lnTo>
                <a:cubicBezTo>
                  <a:pt x="8915401" y="1381"/>
                  <a:pt x="8949399" y="4073"/>
                  <a:pt x="8982885" y="8411"/>
                </a:cubicBezTo>
                <a:lnTo>
                  <a:pt x="9010055" y="13321"/>
                </a:lnTo>
                <a:lnTo>
                  <a:pt x="9021128" y="14233"/>
                </a:lnTo>
                <a:lnTo>
                  <a:pt x="9036581" y="18116"/>
                </a:lnTo>
                <a:lnTo>
                  <a:pt x="9081729" y="26275"/>
                </a:lnTo>
                <a:lnTo>
                  <a:pt x="9174217" y="52700"/>
                </a:lnTo>
                <a:lnTo>
                  <a:pt x="9180151" y="54191"/>
                </a:lnTo>
                <a:lnTo>
                  <a:pt x="9195262" y="60714"/>
                </a:lnTo>
                <a:lnTo>
                  <a:pt x="9268227" y="89563"/>
                </a:lnTo>
                <a:lnTo>
                  <a:pt x="9301138" y="106423"/>
                </a:lnTo>
                <a:lnTo>
                  <a:pt x="9328116" y="118070"/>
                </a:lnTo>
                <a:lnTo>
                  <a:pt x="9345779" y="129291"/>
                </a:lnTo>
                <a:lnTo>
                  <a:pt x="9354890" y="133959"/>
                </a:lnTo>
                <a:cubicBezTo>
                  <a:pt x="9382963" y="150089"/>
                  <a:pt x="9410195" y="167522"/>
                  <a:pt x="9436502" y="186171"/>
                </a:cubicBezTo>
                <a:lnTo>
                  <a:pt x="9439864" y="189067"/>
                </a:lnTo>
                <a:lnTo>
                  <a:pt x="9462810" y="203645"/>
                </a:lnTo>
                <a:cubicBezTo>
                  <a:pt x="9547690" y="267434"/>
                  <a:pt x="9622250" y="344205"/>
                  <a:pt x="9683538" y="430993"/>
                </a:cubicBezTo>
                <a:lnTo>
                  <a:pt x="9702474" y="462855"/>
                </a:lnTo>
                <a:lnTo>
                  <a:pt x="9702515" y="462907"/>
                </a:lnTo>
                <a:lnTo>
                  <a:pt x="9702592" y="463053"/>
                </a:lnTo>
                <a:lnTo>
                  <a:pt x="9765150" y="568317"/>
                </a:lnTo>
                <a:lnTo>
                  <a:pt x="9788926" y="628315"/>
                </a:lnTo>
                <a:lnTo>
                  <a:pt x="9792320" y="634812"/>
                </a:lnTo>
                <a:lnTo>
                  <a:pt x="9794711" y="642913"/>
                </a:lnTo>
                <a:lnTo>
                  <a:pt x="9824643" y="718443"/>
                </a:lnTo>
                <a:cubicBezTo>
                  <a:pt x="9855415" y="818966"/>
                  <a:pt x="9947733" y="887691"/>
                  <a:pt x="10052359" y="887691"/>
                </a:cubicBezTo>
                <a:lnTo>
                  <a:pt x="11572518" y="887691"/>
                </a:lnTo>
                <a:cubicBezTo>
                  <a:pt x="11677145" y="887691"/>
                  <a:pt x="11769461" y="818966"/>
                  <a:pt x="11800234" y="719468"/>
                </a:cubicBezTo>
                <a:cubicBezTo>
                  <a:pt x="11929479" y="293783"/>
                  <a:pt x="12329520" y="-12916"/>
                  <a:pt x="12800338" y="419"/>
                </a:cubicBezTo>
                <a:cubicBezTo>
                  <a:pt x="13351166" y="15805"/>
                  <a:pt x="13792238" y="474315"/>
                  <a:pt x="13785057" y="1025141"/>
                </a:cubicBezTo>
                <a:cubicBezTo>
                  <a:pt x="13779928" y="1581097"/>
                  <a:pt x="13327573" y="2031401"/>
                  <a:pt x="12769566" y="2031401"/>
                </a:cubicBezTo>
                <a:cubicBezTo>
                  <a:pt x="12312082" y="2031401"/>
                  <a:pt x="11925375" y="1728805"/>
                  <a:pt x="11798183" y="1313377"/>
                </a:cubicBezTo>
                <a:cubicBezTo>
                  <a:pt x="11767410" y="1212854"/>
                  <a:pt x="11675093" y="1144128"/>
                  <a:pt x="11570467" y="1144128"/>
                </a:cubicBezTo>
                <a:lnTo>
                  <a:pt x="10051333" y="1144128"/>
                </a:lnTo>
                <a:cubicBezTo>
                  <a:pt x="9946706" y="1144128"/>
                  <a:pt x="9854389" y="1212854"/>
                  <a:pt x="9823617" y="1313377"/>
                </a:cubicBezTo>
                <a:lnTo>
                  <a:pt x="9786361" y="1407388"/>
                </a:lnTo>
                <a:lnTo>
                  <a:pt x="9783329" y="1416913"/>
                </a:lnTo>
                <a:lnTo>
                  <a:pt x="9780676" y="1421733"/>
                </a:lnTo>
                <a:lnTo>
                  <a:pt x="9764123" y="1463503"/>
                </a:lnTo>
                <a:cubicBezTo>
                  <a:pt x="9716842" y="1559567"/>
                  <a:pt x="9654817" y="1647096"/>
                  <a:pt x="9580995" y="1723126"/>
                </a:cubicBezTo>
                <a:lnTo>
                  <a:pt x="9554794" y="1746214"/>
                </a:lnTo>
                <a:lnTo>
                  <a:pt x="9493315" y="1801690"/>
                </a:lnTo>
                <a:lnTo>
                  <a:pt x="9483901" y="1808685"/>
                </a:lnTo>
                <a:lnTo>
                  <a:pt x="9461784" y="1828175"/>
                </a:lnTo>
                <a:lnTo>
                  <a:pt x="9433424" y="1846193"/>
                </a:lnTo>
                <a:lnTo>
                  <a:pt x="9415375" y="1859604"/>
                </a:lnTo>
                <a:lnTo>
                  <a:pt x="9353206" y="1897159"/>
                </a:lnTo>
                <a:lnTo>
                  <a:pt x="9327090" y="1913751"/>
                </a:lnTo>
                <a:lnTo>
                  <a:pt x="9297097" y="1926700"/>
                </a:lnTo>
                <a:lnTo>
                  <a:pt x="9243560" y="1952354"/>
                </a:lnTo>
                <a:lnTo>
                  <a:pt x="9205900" y="1966071"/>
                </a:lnTo>
                <a:lnTo>
                  <a:pt x="9179126" y="1977630"/>
                </a:lnTo>
                <a:lnTo>
                  <a:pt x="9163122" y="1981651"/>
                </a:lnTo>
                <a:lnTo>
                  <a:pt x="9150686" y="1986180"/>
                </a:lnTo>
                <a:cubicBezTo>
                  <a:pt x="9119038" y="1995977"/>
                  <a:pt x="9086726" y="2004267"/>
                  <a:pt x="9053835" y="2010966"/>
                </a:cubicBezTo>
                <a:lnTo>
                  <a:pt x="9035168" y="2013802"/>
                </a:lnTo>
                <a:lnTo>
                  <a:pt x="9020103" y="2017588"/>
                </a:lnTo>
                <a:lnTo>
                  <a:pt x="8998609" y="2019356"/>
                </a:lnTo>
                <a:lnTo>
                  <a:pt x="8953507" y="2026208"/>
                </a:lnTo>
                <a:lnTo>
                  <a:pt x="8855421" y="2031139"/>
                </a:lnTo>
                <a:lnTo>
                  <a:pt x="8852233" y="2031401"/>
                </a:lnTo>
                <a:lnTo>
                  <a:pt x="8851463" y="2031338"/>
                </a:lnTo>
                <a:lnTo>
                  <a:pt x="8850202" y="2031401"/>
                </a:lnTo>
                <a:cubicBezTo>
                  <a:pt x="8392718" y="2031401"/>
                  <a:pt x="8006011" y="1728805"/>
                  <a:pt x="7878819" y="1313377"/>
                </a:cubicBezTo>
                <a:cubicBezTo>
                  <a:pt x="7848046" y="1212854"/>
                  <a:pt x="7755729" y="1144128"/>
                  <a:pt x="7651103" y="1144128"/>
                </a:cubicBezTo>
                <a:lnTo>
                  <a:pt x="6134000" y="1144128"/>
                </a:lnTo>
                <a:cubicBezTo>
                  <a:pt x="6029373" y="1144128"/>
                  <a:pt x="5937056" y="1212854"/>
                  <a:pt x="5906284" y="1313377"/>
                </a:cubicBezTo>
                <a:cubicBezTo>
                  <a:pt x="5779091" y="1728805"/>
                  <a:pt x="5392383" y="2031401"/>
                  <a:pt x="4934900" y="2031401"/>
                </a:cubicBezTo>
                <a:lnTo>
                  <a:pt x="4933639" y="2031338"/>
                </a:lnTo>
                <a:lnTo>
                  <a:pt x="4932869" y="2031401"/>
                </a:lnTo>
                <a:lnTo>
                  <a:pt x="4929682" y="2031139"/>
                </a:lnTo>
                <a:lnTo>
                  <a:pt x="4831595" y="2026208"/>
                </a:lnTo>
                <a:lnTo>
                  <a:pt x="4786491" y="2019356"/>
                </a:lnTo>
                <a:lnTo>
                  <a:pt x="4764999" y="2017588"/>
                </a:lnTo>
                <a:lnTo>
                  <a:pt x="4749936" y="2013803"/>
                </a:lnTo>
                <a:lnTo>
                  <a:pt x="4731266" y="2010966"/>
                </a:lnTo>
                <a:cubicBezTo>
                  <a:pt x="4698375" y="2004267"/>
                  <a:pt x="4666064" y="1995977"/>
                  <a:pt x="4634415" y="1986180"/>
                </a:cubicBezTo>
                <a:lnTo>
                  <a:pt x="4621978" y="1981651"/>
                </a:lnTo>
                <a:lnTo>
                  <a:pt x="4605976" y="1977630"/>
                </a:lnTo>
                <a:lnTo>
                  <a:pt x="4579205" y="1966072"/>
                </a:lnTo>
                <a:lnTo>
                  <a:pt x="4541541" y="1952354"/>
                </a:lnTo>
                <a:lnTo>
                  <a:pt x="4488001" y="1926698"/>
                </a:lnTo>
                <a:lnTo>
                  <a:pt x="4458012" y="1913751"/>
                </a:lnTo>
                <a:lnTo>
                  <a:pt x="4431903" y="1897163"/>
                </a:lnTo>
                <a:lnTo>
                  <a:pt x="4369726" y="1859604"/>
                </a:lnTo>
                <a:lnTo>
                  <a:pt x="4351676" y="1846191"/>
                </a:lnTo>
                <a:lnTo>
                  <a:pt x="4323318" y="1828175"/>
                </a:lnTo>
                <a:lnTo>
                  <a:pt x="4301202" y="1808686"/>
                </a:lnTo>
                <a:lnTo>
                  <a:pt x="4291786" y="1801690"/>
                </a:lnTo>
                <a:lnTo>
                  <a:pt x="4230299" y="1746206"/>
                </a:lnTo>
                <a:lnTo>
                  <a:pt x="4204107" y="1723126"/>
                </a:lnTo>
                <a:cubicBezTo>
                  <a:pt x="4130285" y="1647096"/>
                  <a:pt x="4068259" y="1559567"/>
                  <a:pt x="4020979" y="1463503"/>
                </a:cubicBezTo>
                <a:lnTo>
                  <a:pt x="4004426" y="1421734"/>
                </a:lnTo>
                <a:lnTo>
                  <a:pt x="4001773" y="1416913"/>
                </a:lnTo>
                <a:lnTo>
                  <a:pt x="3998740" y="1407385"/>
                </a:lnTo>
                <a:lnTo>
                  <a:pt x="3961486" y="1313377"/>
                </a:lnTo>
                <a:cubicBezTo>
                  <a:pt x="3930712" y="1212854"/>
                  <a:pt x="3838396" y="1144128"/>
                  <a:pt x="3733769" y="1144128"/>
                </a:cubicBezTo>
                <a:lnTo>
                  <a:pt x="2214636" y="1144128"/>
                </a:lnTo>
                <a:cubicBezTo>
                  <a:pt x="2110010" y="1144128"/>
                  <a:pt x="2017692" y="1212854"/>
                  <a:pt x="1986920" y="1313377"/>
                </a:cubicBezTo>
                <a:cubicBezTo>
                  <a:pt x="1859727" y="1728805"/>
                  <a:pt x="1473019" y="2031401"/>
                  <a:pt x="1015535" y="2031401"/>
                </a:cubicBezTo>
                <a:cubicBezTo>
                  <a:pt x="457528" y="2031401"/>
                  <a:pt x="5174" y="1581097"/>
                  <a:pt x="44" y="1025141"/>
                </a:cubicBezTo>
                <a:cubicBezTo>
                  <a:pt x="-5084" y="474315"/>
                  <a:pt x="435988" y="15805"/>
                  <a:pt x="986814" y="41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solidFill>
                <a:schemeClr val="lt1"/>
              </a:solidFill>
              <a:latin typeface="Poppins" panose="00000500000000000000" pitchFamily="50" charset="0"/>
              <a:cs typeface="Poppins" panose="00000500000000000000" pitchFamily="50" charset="0"/>
            </a:endParaRPr>
          </a:p>
        </p:txBody>
      </p:sp>
      <p:grpSp>
        <p:nvGrpSpPr>
          <p:cNvPr id="2" name="Grupo 1"/>
          <p:cNvGrpSpPr/>
          <p:nvPr/>
        </p:nvGrpSpPr>
        <p:grpSpPr>
          <a:xfrm>
            <a:off x="619125" y="2468218"/>
            <a:ext cx="10901362" cy="1414301"/>
            <a:chOff x="1338147" y="2511082"/>
            <a:chExt cx="9517137" cy="1151175"/>
          </a:xfrm>
          <a:gradFill flip="none" rotWithShape="1">
            <a:gsLst>
              <a:gs pos="100000">
                <a:srgbClr val="21AD84"/>
              </a:gs>
              <a:gs pos="52000">
                <a:srgbClr val="4C53B8"/>
              </a:gs>
              <a:gs pos="0">
                <a:srgbClr val="DD02F8">
                  <a:alpha val="68000"/>
                </a:srgbClr>
              </a:gs>
            </a:gsLst>
            <a:lin ang="17400000" scaled="0"/>
            <a:tileRect/>
          </a:gradFill>
          <a:effectLst/>
        </p:grpSpPr>
        <p:sp>
          <p:nvSpPr>
            <p:cNvPr id="27" name="Freeform: Shape 7">
              <a:extLst>
                <a:ext uri="{FF2B5EF4-FFF2-40B4-BE49-F238E27FC236}">
                  <a16:creationId xmlns:a16="http://schemas.microsoft.com/office/drawing/2014/main" id="{F6F72CFD-BD70-3FE0-6E4C-029F28589581}"/>
                </a:ext>
              </a:extLst>
            </p:cNvPr>
            <p:cNvSpPr/>
            <p:nvPr/>
          </p:nvSpPr>
          <p:spPr>
            <a:xfrm>
              <a:off x="1338147" y="2511082"/>
              <a:ext cx="1151174" cy="1151175"/>
            </a:xfrm>
            <a:custGeom>
              <a:avLst/>
              <a:gdLst>
                <a:gd name="connsiteX0" fmla="*/ 1885950 w 1885950"/>
                <a:gd name="connsiteY0" fmla="*/ 942975 h 1885950"/>
                <a:gd name="connsiteX1" fmla="*/ 942975 w 1885950"/>
                <a:gd name="connsiteY1" fmla="*/ 1885950 h 1885950"/>
                <a:gd name="connsiteX2" fmla="*/ 0 w 1885950"/>
                <a:gd name="connsiteY2" fmla="*/ 942975 h 1885950"/>
                <a:gd name="connsiteX3" fmla="*/ 942975 w 1885950"/>
                <a:gd name="connsiteY3" fmla="*/ 0 h 1885950"/>
                <a:gd name="connsiteX4" fmla="*/ 1885950 w 1885950"/>
                <a:gd name="connsiteY4" fmla="*/ 942975 h 1885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950" h="1885950">
                  <a:moveTo>
                    <a:pt x="1885950" y="942975"/>
                  </a:moveTo>
                  <a:cubicBezTo>
                    <a:pt x="1885950" y="1463766"/>
                    <a:pt x="1463766" y="1885950"/>
                    <a:pt x="942975" y="1885950"/>
                  </a:cubicBezTo>
                  <a:cubicBezTo>
                    <a:pt x="422184" y="1885950"/>
                    <a:pt x="0" y="1463766"/>
                    <a:pt x="0" y="942975"/>
                  </a:cubicBezTo>
                  <a:cubicBezTo>
                    <a:pt x="0" y="422184"/>
                    <a:pt x="422184" y="0"/>
                    <a:pt x="942975" y="0"/>
                  </a:cubicBezTo>
                  <a:cubicBezTo>
                    <a:pt x="1463766" y="0"/>
                    <a:pt x="1885950" y="422184"/>
                    <a:pt x="1885950" y="942975"/>
                  </a:cubicBezTo>
                  <a:close/>
                </a:path>
              </a:pathLst>
            </a:custGeom>
            <a:grpFill/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>
                <a:solidFill>
                  <a:schemeClr val="lt1"/>
                </a:solidFill>
                <a:latin typeface="Poppins" panose="00000500000000000000" pitchFamily="50" charset="0"/>
                <a:cs typeface="Poppins" panose="00000500000000000000" pitchFamily="50" charset="0"/>
              </a:endParaRPr>
            </a:p>
          </p:txBody>
        </p:sp>
        <p:sp>
          <p:nvSpPr>
            <p:cNvPr id="28" name="Freeform: Shape 8">
              <a:extLst>
                <a:ext uri="{FF2B5EF4-FFF2-40B4-BE49-F238E27FC236}">
                  <a16:creationId xmlns:a16="http://schemas.microsoft.com/office/drawing/2014/main" id="{5645038C-51A3-A7EA-6B26-D6EA75FE86AB}"/>
                </a:ext>
              </a:extLst>
            </p:cNvPr>
            <p:cNvSpPr/>
            <p:nvPr/>
          </p:nvSpPr>
          <p:spPr>
            <a:xfrm>
              <a:off x="4126563" y="2511082"/>
              <a:ext cx="1151174" cy="1151175"/>
            </a:xfrm>
            <a:custGeom>
              <a:avLst/>
              <a:gdLst>
                <a:gd name="connsiteX0" fmla="*/ 1885950 w 1885950"/>
                <a:gd name="connsiteY0" fmla="*/ 942975 h 1885950"/>
                <a:gd name="connsiteX1" fmla="*/ 942975 w 1885950"/>
                <a:gd name="connsiteY1" fmla="*/ 1885950 h 1885950"/>
                <a:gd name="connsiteX2" fmla="*/ 0 w 1885950"/>
                <a:gd name="connsiteY2" fmla="*/ 942975 h 1885950"/>
                <a:gd name="connsiteX3" fmla="*/ 942975 w 1885950"/>
                <a:gd name="connsiteY3" fmla="*/ 0 h 1885950"/>
                <a:gd name="connsiteX4" fmla="*/ 1885950 w 1885950"/>
                <a:gd name="connsiteY4" fmla="*/ 942975 h 1885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950" h="1885950">
                  <a:moveTo>
                    <a:pt x="1885950" y="942975"/>
                  </a:moveTo>
                  <a:cubicBezTo>
                    <a:pt x="1885950" y="1463766"/>
                    <a:pt x="1463766" y="1885950"/>
                    <a:pt x="942975" y="1885950"/>
                  </a:cubicBezTo>
                  <a:cubicBezTo>
                    <a:pt x="422184" y="1885950"/>
                    <a:pt x="0" y="1463766"/>
                    <a:pt x="0" y="942975"/>
                  </a:cubicBezTo>
                  <a:cubicBezTo>
                    <a:pt x="0" y="422184"/>
                    <a:pt x="422184" y="0"/>
                    <a:pt x="942975" y="0"/>
                  </a:cubicBezTo>
                  <a:cubicBezTo>
                    <a:pt x="1463766" y="0"/>
                    <a:pt x="1885950" y="422184"/>
                    <a:pt x="1885950" y="942975"/>
                  </a:cubicBezTo>
                  <a:close/>
                </a:path>
              </a:pathLst>
            </a:custGeom>
            <a:grpFill/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>
                <a:solidFill>
                  <a:schemeClr val="lt1"/>
                </a:solidFill>
                <a:latin typeface="Poppins" panose="00000500000000000000" pitchFamily="50" charset="0"/>
                <a:cs typeface="Poppins" panose="00000500000000000000" pitchFamily="50" charset="0"/>
              </a:endParaRPr>
            </a:p>
          </p:txBody>
        </p:sp>
        <p:sp>
          <p:nvSpPr>
            <p:cNvPr id="29" name="Freeform: Shape 11">
              <a:extLst>
                <a:ext uri="{FF2B5EF4-FFF2-40B4-BE49-F238E27FC236}">
                  <a16:creationId xmlns:a16="http://schemas.microsoft.com/office/drawing/2014/main" id="{8CC2DED6-0E02-3284-A5B6-14DEC1E59837}"/>
                </a:ext>
              </a:extLst>
            </p:cNvPr>
            <p:cNvSpPr/>
            <p:nvPr/>
          </p:nvSpPr>
          <p:spPr>
            <a:xfrm>
              <a:off x="6915694" y="2511082"/>
              <a:ext cx="1151174" cy="1151175"/>
            </a:xfrm>
            <a:custGeom>
              <a:avLst/>
              <a:gdLst>
                <a:gd name="connsiteX0" fmla="*/ 1885950 w 1885950"/>
                <a:gd name="connsiteY0" fmla="*/ 942975 h 1885950"/>
                <a:gd name="connsiteX1" fmla="*/ 942975 w 1885950"/>
                <a:gd name="connsiteY1" fmla="*/ 1885950 h 1885950"/>
                <a:gd name="connsiteX2" fmla="*/ 0 w 1885950"/>
                <a:gd name="connsiteY2" fmla="*/ 942975 h 1885950"/>
                <a:gd name="connsiteX3" fmla="*/ 942975 w 1885950"/>
                <a:gd name="connsiteY3" fmla="*/ 0 h 1885950"/>
                <a:gd name="connsiteX4" fmla="*/ 1885950 w 1885950"/>
                <a:gd name="connsiteY4" fmla="*/ 942975 h 1885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950" h="1885950">
                  <a:moveTo>
                    <a:pt x="1885950" y="942975"/>
                  </a:moveTo>
                  <a:cubicBezTo>
                    <a:pt x="1885950" y="1463766"/>
                    <a:pt x="1463766" y="1885950"/>
                    <a:pt x="942975" y="1885950"/>
                  </a:cubicBezTo>
                  <a:cubicBezTo>
                    <a:pt x="422184" y="1885950"/>
                    <a:pt x="0" y="1463766"/>
                    <a:pt x="0" y="942975"/>
                  </a:cubicBezTo>
                  <a:cubicBezTo>
                    <a:pt x="0" y="422184"/>
                    <a:pt x="422184" y="0"/>
                    <a:pt x="942975" y="0"/>
                  </a:cubicBezTo>
                  <a:cubicBezTo>
                    <a:pt x="1463766" y="0"/>
                    <a:pt x="1885950" y="422184"/>
                    <a:pt x="1885950" y="942975"/>
                  </a:cubicBezTo>
                  <a:close/>
                </a:path>
              </a:pathLst>
            </a:custGeom>
            <a:grpFill/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>
                <a:solidFill>
                  <a:schemeClr val="lt1"/>
                </a:solidFill>
                <a:latin typeface="Poppins" panose="00000500000000000000" pitchFamily="50" charset="0"/>
                <a:cs typeface="Poppins" panose="00000500000000000000" pitchFamily="50" charset="0"/>
              </a:endParaRPr>
            </a:p>
          </p:txBody>
        </p:sp>
        <p:sp>
          <p:nvSpPr>
            <p:cNvPr id="30" name="Freeform: Shape 12">
              <a:extLst>
                <a:ext uri="{FF2B5EF4-FFF2-40B4-BE49-F238E27FC236}">
                  <a16:creationId xmlns:a16="http://schemas.microsoft.com/office/drawing/2014/main" id="{96400D76-D611-43AC-E5C5-81780BF6FF0A}"/>
                </a:ext>
              </a:extLst>
            </p:cNvPr>
            <p:cNvSpPr/>
            <p:nvPr/>
          </p:nvSpPr>
          <p:spPr>
            <a:xfrm>
              <a:off x="9704110" y="2511082"/>
              <a:ext cx="1151174" cy="1151175"/>
            </a:xfrm>
            <a:custGeom>
              <a:avLst/>
              <a:gdLst>
                <a:gd name="connsiteX0" fmla="*/ 1885950 w 1885950"/>
                <a:gd name="connsiteY0" fmla="*/ 942975 h 1885950"/>
                <a:gd name="connsiteX1" fmla="*/ 942975 w 1885950"/>
                <a:gd name="connsiteY1" fmla="*/ 1885950 h 1885950"/>
                <a:gd name="connsiteX2" fmla="*/ 0 w 1885950"/>
                <a:gd name="connsiteY2" fmla="*/ 942975 h 1885950"/>
                <a:gd name="connsiteX3" fmla="*/ 942975 w 1885950"/>
                <a:gd name="connsiteY3" fmla="*/ 0 h 1885950"/>
                <a:gd name="connsiteX4" fmla="*/ 1885950 w 1885950"/>
                <a:gd name="connsiteY4" fmla="*/ 942975 h 1885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950" h="1885950">
                  <a:moveTo>
                    <a:pt x="1885950" y="942975"/>
                  </a:moveTo>
                  <a:cubicBezTo>
                    <a:pt x="1885950" y="1463766"/>
                    <a:pt x="1463766" y="1885950"/>
                    <a:pt x="942975" y="1885950"/>
                  </a:cubicBezTo>
                  <a:cubicBezTo>
                    <a:pt x="422184" y="1885950"/>
                    <a:pt x="0" y="1463766"/>
                    <a:pt x="0" y="942975"/>
                  </a:cubicBezTo>
                  <a:cubicBezTo>
                    <a:pt x="0" y="422184"/>
                    <a:pt x="422184" y="0"/>
                    <a:pt x="942975" y="0"/>
                  </a:cubicBezTo>
                  <a:cubicBezTo>
                    <a:pt x="1463766" y="0"/>
                    <a:pt x="1885950" y="422184"/>
                    <a:pt x="1885950" y="942975"/>
                  </a:cubicBezTo>
                  <a:close/>
                </a:path>
              </a:pathLst>
            </a:custGeom>
            <a:grpFill/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>
                <a:solidFill>
                  <a:schemeClr val="lt1"/>
                </a:solidFill>
                <a:latin typeface="Poppins" panose="00000500000000000000" pitchFamily="50" charset="0"/>
                <a:cs typeface="Poppins" panose="00000500000000000000" pitchFamily="50" charset="0"/>
              </a:endParaRPr>
            </a:p>
          </p:txBody>
        </p:sp>
      </p:grpSp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2" t="377" r="13185" b="-377"/>
          <a:stretch/>
        </p:blipFill>
        <p:spPr>
          <a:xfrm>
            <a:off x="3761202" y="2450345"/>
            <a:ext cx="1408609" cy="1475038"/>
          </a:xfrm>
          <a:prstGeom prst="ellipse">
            <a:avLst/>
          </a:prstGeom>
          <a:ln w="63500" cap="rnd">
            <a:noFill/>
          </a:ln>
          <a:effectLst/>
        </p:spPr>
      </p:pic>
      <p:pic>
        <p:nvPicPr>
          <p:cNvPr id="1026" name="Picture 2" descr="PDF] David Marr ' s Vision : floreat computational neuroscience | Semantic  Scholar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517" t="6085" b="6304"/>
          <a:stretch/>
        </p:blipFill>
        <p:spPr bwMode="auto">
          <a:xfrm>
            <a:off x="669131" y="2533643"/>
            <a:ext cx="1216699" cy="1284632"/>
          </a:xfrm>
          <a:prstGeom prst="ellipse">
            <a:avLst/>
          </a:prstGeom>
          <a:ln w="63500" cap="rnd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TIL that the first human death by robot happened in 1979 at a Ford Motor  Company casting plant, when a parts retrieval robotic arm struck a  25-year-old factory worker in the head, killing him instantly. :  r/todayilearned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79" r="25598"/>
          <a:stretch/>
        </p:blipFill>
        <p:spPr bwMode="auto">
          <a:xfrm>
            <a:off x="6937375" y="2465042"/>
            <a:ext cx="1446733" cy="1457165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Upsilon Sigma Phi on X: &quot;The Upsilon Sigma Phi congratulates Atty. Tecson John  S. Lim '97 for being appointed as Director of the Office of Civil Defense's  (OCD) Capacity Building and Trainin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  <a14:imgEffect>
                      <a14:brightnessContrast bright="1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035" t="10081" r="21684" b="32638"/>
          <a:stretch/>
        </p:blipFill>
        <p:spPr bwMode="auto">
          <a:xfrm>
            <a:off x="10255251" y="2532009"/>
            <a:ext cx="1204768" cy="1286718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9688325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6D7131-84CE-997F-2DC9-978C13537D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1A5AAD38-76CF-C39F-64CB-8DCAA54E82FE}"/>
              </a:ext>
            </a:extLst>
          </p:cNvPr>
          <p:cNvSpPr/>
          <p:nvPr/>
        </p:nvSpPr>
        <p:spPr>
          <a:xfrm flipV="1">
            <a:off x="8889956" y="3351840"/>
            <a:ext cx="3302044" cy="3506160"/>
          </a:xfrm>
          <a:custGeom>
            <a:avLst/>
            <a:gdLst>
              <a:gd name="connsiteX0" fmla="*/ 3957903 w 5477896"/>
              <a:gd name="connsiteY0" fmla="*/ 5816513 h 5816513"/>
              <a:gd name="connsiteX1" fmla="*/ 0 w 5477896"/>
              <a:gd name="connsiteY1" fmla="*/ 1858610 h 5816513"/>
              <a:gd name="connsiteX2" fmla="*/ 311032 w 5477896"/>
              <a:gd name="connsiteY2" fmla="*/ 318016 h 5816513"/>
              <a:gd name="connsiteX3" fmla="*/ 464228 w 5477896"/>
              <a:gd name="connsiteY3" fmla="*/ 0 h 5816513"/>
              <a:gd name="connsiteX4" fmla="*/ 5477896 w 5477896"/>
              <a:gd name="connsiteY4" fmla="*/ 0 h 5816513"/>
              <a:gd name="connsiteX5" fmla="*/ 5477896 w 5477896"/>
              <a:gd name="connsiteY5" fmla="*/ 5513604 h 5816513"/>
              <a:gd name="connsiteX6" fmla="*/ 5318762 w 5477896"/>
              <a:gd name="connsiteY6" fmla="*/ 5576349 h 5816513"/>
              <a:gd name="connsiteX7" fmla="*/ 3957903 w 5477896"/>
              <a:gd name="connsiteY7" fmla="*/ 5816513 h 5816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477896" h="5816513">
                <a:moveTo>
                  <a:pt x="3957903" y="5816513"/>
                </a:moveTo>
                <a:cubicBezTo>
                  <a:pt x="1772013" y="5816513"/>
                  <a:pt x="0" y="4044500"/>
                  <a:pt x="0" y="1858610"/>
                </a:cubicBezTo>
                <a:cubicBezTo>
                  <a:pt x="0" y="1312139"/>
                  <a:pt x="110751" y="791533"/>
                  <a:pt x="311032" y="318016"/>
                </a:cubicBezTo>
                <a:lnTo>
                  <a:pt x="464228" y="0"/>
                </a:lnTo>
                <a:lnTo>
                  <a:pt x="5477896" y="0"/>
                </a:lnTo>
                <a:lnTo>
                  <a:pt x="5477896" y="5513604"/>
                </a:lnTo>
                <a:lnTo>
                  <a:pt x="5318762" y="5576349"/>
                </a:lnTo>
                <a:cubicBezTo>
                  <a:pt x="4894424" y="5731719"/>
                  <a:pt x="4436066" y="5816513"/>
                  <a:pt x="3957903" y="5816513"/>
                </a:cubicBezTo>
                <a:close/>
              </a:path>
            </a:pathLst>
          </a:custGeom>
          <a:gradFill>
            <a:gsLst>
              <a:gs pos="42200">
                <a:srgbClr val="4C53B8"/>
              </a:gs>
              <a:gs pos="100000">
                <a:srgbClr val="21AD84"/>
              </a:gs>
              <a:gs pos="0">
                <a:srgbClr val="DD02F8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8C2629CD-052C-50AC-1FAD-586F0A16B23B}"/>
              </a:ext>
            </a:extLst>
          </p:cNvPr>
          <p:cNvSpPr/>
          <p:nvPr/>
        </p:nvSpPr>
        <p:spPr>
          <a:xfrm>
            <a:off x="6721665" y="1080033"/>
            <a:ext cx="5123035" cy="5123028"/>
          </a:xfrm>
          <a:prstGeom prst="ellipse">
            <a:avLst/>
          </a:prstGeom>
          <a:gradFill flip="none" rotWithShape="1">
            <a:gsLst>
              <a:gs pos="99000">
                <a:srgbClr val="DD02F8">
                  <a:alpha val="46000"/>
                </a:srgbClr>
              </a:gs>
              <a:gs pos="0">
                <a:srgbClr val="4C53B8">
                  <a:alpha val="79000"/>
                </a:srgbClr>
              </a:gs>
            </a:gsLst>
            <a:lin ang="0" scaled="1"/>
            <a:tileRect/>
          </a:gradFill>
          <a:ln>
            <a:noFill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Poppins" panose="00000500000000000000" pitchFamily="50" charset="0"/>
              <a:cs typeface="Poppins" panose="00000500000000000000" pitchFamily="50" charset="0"/>
            </a:endParaRPr>
          </a:p>
        </p:txBody>
      </p:sp>
      <p:pic>
        <p:nvPicPr>
          <p:cNvPr id="12" name="Marcador de posición de imagen 11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272" t="1236" r="31120" b="-1236"/>
          <a:stretch/>
        </p:blipFill>
        <p:spPr>
          <a:solidFill>
            <a:schemeClr val="bg1">
              <a:lumMod val="85000"/>
            </a:schemeClr>
          </a:solidFill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573A73A-386D-1674-6A2D-EFD69163B4C7}"/>
              </a:ext>
            </a:extLst>
          </p:cNvPr>
          <p:cNvCxnSpPr>
            <a:cxnSpLocks/>
          </p:cNvCxnSpPr>
          <p:nvPr/>
        </p:nvCxnSpPr>
        <p:spPr>
          <a:xfrm flipV="1">
            <a:off x="2266871" y="393630"/>
            <a:ext cx="7943929" cy="1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1">
            <a:extLst>
              <a:ext uri="{FF2B5EF4-FFF2-40B4-BE49-F238E27FC236}">
                <a16:creationId xmlns:a16="http://schemas.microsoft.com/office/drawing/2014/main" id="{0092CBD0-C00F-CB8E-1D16-4CD4A74AFB4B}"/>
              </a:ext>
            </a:extLst>
          </p:cNvPr>
          <p:cNvSpPr txBox="1">
            <a:spLocks/>
          </p:cNvSpPr>
          <p:nvPr/>
        </p:nvSpPr>
        <p:spPr>
          <a:xfrm>
            <a:off x="697612" y="1409700"/>
            <a:ext cx="4179188" cy="1395147"/>
          </a:xfrm>
          <a:prstGeom prst="rect">
            <a:avLst/>
          </a:prstGeom>
        </p:spPr>
        <p:txBody>
          <a:bodyPr vert="horz" wrap="square" lIns="91416" tIns="45708" rIns="91416" bIns="45708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VE" sz="3200" b="1" dirty="0">
                <a:latin typeface="+mn-lt"/>
              </a:rPr>
              <a:t>KEY ADVANCEMENTS</a:t>
            </a:r>
          </a:p>
          <a:p>
            <a:pPr algn="l"/>
            <a:r>
              <a:rPr lang="es-VE" sz="3200" b="1" dirty="0">
                <a:latin typeface="+mn-lt"/>
              </a:rPr>
              <a:t>IN THE </a:t>
            </a:r>
            <a:r>
              <a:rPr lang="es-VE" sz="3200" dirty="0">
                <a:latin typeface="+mn-lt"/>
              </a:rPr>
              <a:t>1970S-1980S</a:t>
            </a:r>
            <a:endParaRPr lang="en-US" sz="3200" dirty="0">
              <a:solidFill>
                <a:schemeClr val="tx1">
                  <a:lumMod val="95000"/>
                  <a:lumOff val="5000"/>
                </a:schemeClr>
              </a:solidFill>
              <a:latin typeface="+mn-lt"/>
              <a:ea typeface="Roboto" panose="02000000000000000000" pitchFamily="2" charset="0"/>
              <a:cs typeface="Poppins" panose="00000500000000000000" pitchFamily="50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60858A5-CB24-DFF6-0754-DE43C3D1DB71}"/>
              </a:ext>
            </a:extLst>
          </p:cNvPr>
          <p:cNvSpPr/>
          <p:nvPr/>
        </p:nvSpPr>
        <p:spPr>
          <a:xfrm>
            <a:off x="697613" y="3451110"/>
            <a:ext cx="3930088" cy="2169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s-VE" dirty="0">
                <a:solidFill>
                  <a:schemeClr val="bg2">
                    <a:lumMod val="25000"/>
                  </a:schemeClr>
                </a:solidFill>
              </a:rPr>
              <a:t>David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</a:rPr>
              <a:t>Marr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</a:rPr>
              <a:t>proposed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</a:rPr>
              <a:t> a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</a:rPr>
              <a:t>computational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</a:rPr>
              <a:t>model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</a:rPr>
              <a:t>for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</a:rPr>
              <a:t>understanding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</a:rPr>
              <a:t>how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</a:rPr>
              <a:t>the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</a:rPr>
              <a:t>brain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</a:rPr>
              <a:t>processes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</a:rPr>
              <a:t> visual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</a:rPr>
              <a:t>information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</a:rPr>
              <a:t>,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</a:rPr>
              <a:t>which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</a:rPr>
              <a:t>became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</a:rPr>
              <a:t> a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</a:rPr>
              <a:t>cornerstone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</a:rPr>
              <a:t>for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</a:rPr>
              <a:t>computer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</a:rPr>
              <a:t>vision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</a:rPr>
              <a:t>.</a:t>
            </a:r>
            <a:endParaRPr lang="en-US" dirty="0">
              <a:solidFill>
                <a:schemeClr val="bg2">
                  <a:lumMod val="25000"/>
                </a:schemeClr>
              </a:solidFill>
              <a:cs typeface="Segoe UI Light" panose="020B0502040204020203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00CF7213-218E-6210-E140-77B8E51C248E}"/>
              </a:ext>
            </a:extLst>
          </p:cNvPr>
          <p:cNvSpPr>
            <a:spLocks noChangeAspect="1"/>
          </p:cNvSpPr>
          <p:nvPr/>
        </p:nvSpPr>
        <p:spPr>
          <a:xfrm>
            <a:off x="5973621" y="2972351"/>
            <a:ext cx="1338392" cy="1338392"/>
          </a:xfrm>
          <a:prstGeom prst="ellipse">
            <a:avLst/>
          </a:prstGeom>
          <a:solidFill>
            <a:srgbClr val="21AD84"/>
          </a:solidFill>
          <a:ln w="9525" cap="flat">
            <a:noFill/>
            <a:prstDash val="solid"/>
            <a:miter/>
          </a:ln>
          <a:effectLst/>
        </p:spPr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E715B17-90DA-B234-424F-30289BC0F1E5}"/>
              </a:ext>
            </a:extLst>
          </p:cNvPr>
          <p:cNvSpPr/>
          <p:nvPr/>
        </p:nvSpPr>
        <p:spPr>
          <a:xfrm>
            <a:off x="5830136" y="3451110"/>
            <a:ext cx="1637917" cy="430887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ctr"/>
            <a:r>
              <a:rPr lang="es-VE" sz="1400" b="1" dirty="0">
                <a:solidFill>
                  <a:schemeClr val="bg1"/>
                </a:solidFill>
              </a:rPr>
              <a:t>David </a:t>
            </a:r>
            <a:r>
              <a:rPr lang="es-VE" sz="1400" b="1" dirty="0" err="1">
                <a:solidFill>
                  <a:schemeClr val="bg1"/>
                </a:solidFill>
              </a:rPr>
              <a:t>Marr's</a:t>
            </a:r>
            <a:endParaRPr lang="es-VE" sz="1400" b="1" dirty="0">
              <a:solidFill>
                <a:schemeClr val="bg1"/>
              </a:solidFill>
            </a:endParaRPr>
          </a:p>
          <a:p>
            <a:pPr algn="ctr"/>
            <a:r>
              <a:rPr lang="es-VE" sz="1400" b="1" dirty="0">
                <a:solidFill>
                  <a:schemeClr val="bg1"/>
                </a:solidFill>
              </a:rPr>
              <a:t> </a:t>
            </a:r>
            <a:r>
              <a:rPr lang="es-VE" sz="1400" b="1" dirty="0" err="1">
                <a:solidFill>
                  <a:schemeClr val="bg1"/>
                </a:solidFill>
              </a:rPr>
              <a:t>Theory</a:t>
            </a:r>
            <a:endParaRPr lang="es-VE" sz="1400" b="1" dirty="0">
              <a:solidFill>
                <a:schemeClr val="bg1"/>
              </a:solidFill>
            </a:endParaRPr>
          </a:p>
        </p:txBody>
      </p:sp>
      <p:sp>
        <p:nvSpPr>
          <p:cNvPr id="25" name="Title 11">
            <a:extLst>
              <a:ext uri="{FF2B5EF4-FFF2-40B4-BE49-F238E27FC236}">
                <a16:creationId xmlns:a16="http://schemas.microsoft.com/office/drawing/2014/main" id="{DF546874-93F6-7082-8F02-F064F8805340}"/>
              </a:ext>
            </a:extLst>
          </p:cNvPr>
          <p:cNvSpPr txBox="1">
            <a:spLocks/>
          </p:cNvSpPr>
          <p:nvPr/>
        </p:nvSpPr>
        <p:spPr>
          <a:xfrm>
            <a:off x="697614" y="2836513"/>
            <a:ext cx="4179186" cy="408124"/>
          </a:xfrm>
          <a:prstGeom prst="rect">
            <a:avLst/>
          </a:prstGeom>
        </p:spPr>
        <p:txBody>
          <a:bodyPr vert="horz" wrap="square" lIns="91416" tIns="45708" rIns="91416" bIns="45708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VE" sz="2000" b="1" dirty="0">
                <a:solidFill>
                  <a:srgbClr val="21AD84"/>
                </a:solidFill>
              </a:rPr>
              <a:t>David </a:t>
            </a:r>
            <a:r>
              <a:rPr lang="es-VE" sz="2000" b="1" dirty="0" err="1">
                <a:solidFill>
                  <a:srgbClr val="21AD84"/>
                </a:solidFill>
              </a:rPr>
              <a:t>Marr’s</a:t>
            </a:r>
            <a:r>
              <a:rPr lang="es-VE" sz="2000" b="1" dirty="0">
                <a:solidFill>
                  <a:srgbClr val="21AD84"/>
                </a:solidFill>
              </a:rPr>
              <a:t> </a:t>
            </a:r>
            <a:r>
              <a:rPr lang="es-VE" sz="2000" b="1" dirty="0" err="1">
                <a:solidFill>
                  <a:srgbClr val="21AD84"/>
                </a:solidFill>
              </a:rPr>
              <a:t>Theory</a:t>
            </a:r>
            <a:r>
              <a:rPr lang="es-VE" sz="2000" b="1" dirty="0">
                <a:solidFill>
                  <a:srgbClr val="21AD84"/>
                </a:solidFill>
              </a:rPr>
              <a:t> of </a:t>
            </a:r>
            <a:r>
              <a:rPr lang="es-VE" sz="2000" b="1" dirty="0" err="1">
                <a:solidFill>
                  <a:srgbClr val="21AD84"/>
                </a:solidFill>
              </a:rPr>
              <a:t>Vision</a:t>
            </a:r>
            <a:r>
              <a:rPr lang="es-VE" sz="2000" b="1" dirty="0">
                <a:solidFill>
                  <a:srgbClr val="21AD84"/>
                </a:solidFill>
              </a:rPr>
              <a:t> (1970s):</a:t>
            </a:r>
            <a:endParaRPr lang="en-US" sz="2000" dirty="0">
              <a:solidFill>
                <a:srgbClr val="21AD84"/>
              </a:solidFill>
              <a:latin typeface="+mn-lt"/>
              <a:ea typeface="Roboto" panose="02000000000000000000" pitchFamily="2" charset="0"/>
              <a:cs typeface="Poppins" panose="00000500000000000000" pitchFamily="50" charset="0"/>
            </a:endParaRPr>
          </a:p>
        </p:txBody>
      </p:sp>
      <p:sp>
        <p:nvSpPr>
          <p:cNvPr id="28" name="Title 11">
            <a:extLst>
              <a:ext uri="{FF2B5EF4-FFF2-40B4-BE49-F238E27FC236}">
                <a16:creationId xmlns:a16="http://schemas.microsoft.com/office/drawing/2014/main" id="{9B020AF8-0A47-9B55-4857-F172AF36871F}"/>
              </a:ext>
            </a:extLst>
          </p:cNvPr>
          <p:cNvSpPr txBox="1">
            <a:spLocks/>
          </p:cNvSpPr>
          <p:nvPr/>
        </p:nvSpPr>
        <p:spPr>
          <a:xfrm>
            <a:off x="2878782" y="5446411"/>
            <a:ext cx="1323850" cy="266788"/>
          </a:xfrm>
          <a:prstGeom prst="rect">
            <a:avLst/>
          </a:prstGeom>
        </p:spPr>
        <p:txBody>
          <a:bodyPr vert="horz" wrap="square" lIns="91416" tIns="45708" rIns="91416" bIns="45708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400" b="1" dirty="0">
                <a:solidFill>
                  <a:schemeClr val="bg1"/>
                </a:solidFill>
                <a:latin typeface="Poppins" panose="00000500000000000000" pitchFamily="50" charset="0"/>
                <a:ea typeface="Roboto" panose="02000000000000000000" pitchFamily="2" charset="0"/>
                <a:cs typeface="Poppins" panose="00000500000000000000" pitchFamily="50" charset="0"/>
              </a:rPr>
              <a:t>Read More</a:t>
            </a:r>
          </a:p>
        </p:txBody>
      </p:sp>
      <p:grpSp>
        <p:nvGrpSpPr>
          <p:cNvPr id="26" name="Group 34">
            <a:extLst>
              <a:ext uri="{FF2B5EF4-FFF2-40B4-BE49-F238E27FC236}">
                <a16:creationId xmlns:a16="http://schemas.microsoft.com/office/drawing/2014/main" id="{372322A4-1177-0B0B-12BC-5A95C59F478F}"/>
              </a:ext>
            </a:extLst>
          </p:cNvPr>
          <p:cNvGrpSpPr/>
          <p:nvPr/>
        </p:nvGrpSpPr>
        <p:grpSpPr>
          <a:xfrm>
            <a:off x="342905" y="220670"/>
            <a:ext cx="1832368" cy="461665"/>
            <a:chOff x="342905" y="6473150"/>
            <a:chExt cx="1832368" cy="461665"/>
          </a:xfrm>
        </p:grpSpPr>
        <p:sp>
          <p:nvSpPr>
            <p:cNvPr id="34" name="Rectangle: Rounded Corners 35">
              <a:extLst>
                <a:ext uri="{FF2B5EF4-FFF2-40B4-BE49-F238E27FC236}">
                  <a16:creationId xmlns:a16="http://schemas.microsoft.com/office/drawing/2014/main" id="{D622E8C9-5F37-5C65-ABFF-591BF8A7E798}"/>
                </a:ext>
              </a:extLst>
            </p:cNvPr>
            <p:cNvSpPr/>
            <p:nvPr/>
          </p:nvSpPr>
          <p:spPr>
            <a:xfrm>
              <a:off x="359247" y="6484041"/>
              <a:ext cx="1816026" cy="317500"/>
            </a:xfrm>
            <a:prstGeom prst="roundRect">
              <a:avLst>
                <a:gd name="adj" fmla="val 50000"/>
              </a:avLst>
            </a:prstGeom>
            <a:solidFill>
              <a:srgbClr val="21AD8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TextBox 36">
              <a:extLst>
                <a:ext uri="{FF2B5EF4-FFF2-40B4-BE49-F238E27FC236}">
                  <a16:creationId xmlns:a16="http://schemas.microsoft.com/office/drawing/2014/main" id="{3D2E3E85-74A1-E68D-1F33-5053C9948E14}"/>
                </a:ext>
              </a:extLst>
            </p:cNvPr>
            <p:cNvSpPr txBox="1"/>
            <p:nvPr/>
          </p:nvSpPr>
          <p:spPr>
            <a:xfrm>
              <a:off x="342905" y="6473150"/>
              <a:ext cx="132397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800" dirty="0">
                  <a:solidFill>
                    <a:schemeClr val="bg1"/>
                  </a:solidFill>
                  <a:ea typeface="Open Sans" panose="020B0606030504020204" pitchFamily="34" charset="0"/>
                  <a:cs typeface="Poppins" panose="00000500000000000000" pitchFamily="50" charset="0"/>
                </a:rPr>
                <a:t>The </a:t>
              </a:r>
              <a:r>
                <a:rPr lang="en-US" sz="800" b="1" dirty="0">
                  <a:solidFill>
                    <a:schemeClr val="bg1"/>
                  </a:solidFill>
                  <a:ea typeface="Open Sans" panose="020B0606030504020204" pitchFamily="34" charset="0"/>
                  <a:cs typeface="Poppins" panose="00000500000000000000" pitchFamily="50" charset="0"/>
                </a:rPr>
                <a:t>Evolution of Computer Vision </a:t>
              </a:r>
              <a:r>
                <a:rPr lang="en-US" sz="700" dirty="0">
                  <a:solidFill>
                    <a:schemeClr val="bg1"/>
                  </a:solidFill>
                  <a:ea typeface="Open Sans" panose="020B0606030504020204" pitchFamily="34" charset="0"/>
                  <a:cs typeface="Poppins" panose="00000500000000000000" pitchFamily="50" charset="0"/>
                </a:rPr>
                <a:t>1970s – 1980s</a:t>
              </a:r>
            </a:p>
            <a:p>
              <a:pPr algn="r"/>
              <a:endParaRPr lang="en-US" sz="800" b="1" dirty="0">
                <a:solidFill>
                  <a:schemeClr val="bg1"/>
                </a:solidFill>
                <a:ea typeface="Open Sans" panose="020B0606030504020204" pitchFamily="34" charset="0"/>
                <a:cs typeface="Poppins" panose="00000500000000000000" pitchFamily="50" charset="0"/>
              </a:endParaRPr>
            </a:p>
          </p:txBody>
        </p:sp>
        <p:sp>
          <p:nvSpPr>
            <p:cNvPr id="36" name="Rectangle: Rounded Corners 37">
              <a:extLst>
                <a:ext uri="{FF2B5EF4-FFF2-40B4-BE49-F238E27FC236}">
                  <a16:creationId xmlns:a16="http://schemas.microsoft.com/office/drawing/2014/main" id="{72CEFE7C-EA20-BEBE-CB39-7C7F094B2DD5}"/>
                </a:ext>
              </a:extLst>
            </p:cNvPr>
            <p:cNvSpPr/>
            <p:nvPr/>
          </p:nvSpPr>
          <p:spPr>
            <a:xfrm>
              <a:off x="1653778" y="6484041"/>
              <a:ext cx="521495" cy="31750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99000">
                  <a:srgbClr val="21AD84"/>
                </a:gs>
                <a:gs pos="52000">
                  <a:srgbClr val="7030A0">
                    <a:alpha val="79000"/>
                  </a:srgbClr>
                </a:gs>
                <a:gs pos="0">
                  <a:srgbClr val="DD02F8">
                    <a:alpha val="68000"/>
                  </a:srgbClr>
                </a:gs>
              </a:gsLst>
              <a:lin ang="10800000" scaled="1"/>
              <a:tileRect/>
            </a:gra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B52EFCF-E587-B2F8-6DCA-C0F794972C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45988" y="207190"/>
            <a:ext cx="712509" cy="365125"/>
          </a:xfrm>
        </p:spPr>
        <p:txBody>
          <a:bodyPr/>
          <a:lstStyle/>
          <a:p>
            <a:fld id="{131BCB46-63A1-4E91-AD39-9DC1D6579614}" type="slidenum">
              <a:rPr lang="en-US" sz="1600" b="1" smtClean="0">
                <a:latin typeface="+mn-lt"/>
              </a:rPr>
              <a:t>4</a:t>
            </a:fld>
            <a:endParaRPr lang="en-US" sz="1600" b="1" dirty="0">
              <a:latin typeface="+mn-lt"/>
            </a:endParaRPr>
          </a:p>
        </p:txBody>
      </p:sp>
      <p:sp>
        <p:nvSpPr>
          <p:cNvPr id="41" name="Title 11">
            <a:extLst>
              <a:ext uri="{FF2B5EF4-FFF2-40B4-BE49-F238E27FC236}">
                <a16:creationId xmlns:a16="http://schemas.microsoft.com/office/drawing/2014/main" id="{13BCB567-D330-8FD1-1DCF-CC7DC13B6EB4}"/>
              </a:ext>
            </a:extLst>
          </p:cNvPr>
          <p:cNvSpPr txBox="1">
            <a:spLocks/>
          </p:cNvSpPr>
          <p:nvPr/>
        </p:nvSpPr>
        <p:spPr>
          <a:xfrm>
            <a:off x="7914736" y="264768"/>
            <a:ext cx="4010951" cy="268718"/>
          </a:xfrm>
          <a:prstGeom prst="rect">
            <a:avLst/>
          </a:prstGeom>
        </p:spPr>
        <p:txBody>
          <a:bodyPr vert="horz" wrap="square" lIns="91416" tIns="45708" rIns="91416" bIns="45708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s-VE" sz="160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Key </a:t>
            </a:r>
            <a:r>
              <a:rPr lang="es-VE" sz="1600" dirty="0" err="1">
                <a:solidFill>
                  <a:schemeClr val="bg2">
                    <a:lumMod val="50000"/>
                  </a:schemeClr>
                </a:solidFill>
                <a:latin typeface="+mn-lt"/>
              </a:rPr>
              <a:t>Advancements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+mn-lt"/>
              <a:ea typeface="Roboto" panose="02000000000000000000" pitchFamily="2" charset="0"/>
              <a:cs typeface="Poppins" panose="000005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0667158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B74B5B78-577E-4672-4609-CD96639C0CF9}"/>
              </a:ext>
            </a:extLst>
          </p:cNvPr>
          <p:cNvSpPr/>
          <p:nvPr/>
        </p:nvSpPr>
        <p:spPr>
          <a:xfrm flipH="1">
            <a:off x="-1" y="0"/>
            <a:ext cx="5508153" cy="5848640"/>
          </a:xfrm>
          <a:custGeom>
            <a:avLst/>
            <a:gdLst>
              <a:gd name="connsiteX0" fmla="*/ 3957903 w 5477896"/>
              <a:gd name="connsiteY0" fmla="*/ 5816513 h 5816513"/>
              <a:gd name="connsiteX1" fmla="*/ 0 w 5477896"/>
              <a:gd name="connsiteY1" fmla="*/ 1858610 h 5816513"/>
              <a:gd name="connsiteX2" fmla="*/ 311032 w 5477896"/>
              <a:gd name="connsiteY2" fmla="*/ 318016 h 5816513"/>
              <a:gd name="connsiteX3" fmla="*/ 464228 w 5477896"/>
              <a:gd name="connsiteY3" fmla="*/ 0 h 5816513"/>
              <a:gd name="connsiteX4" fmla="*/ 5477896 w 5477896"/>
              <a:gd name="connsiteY4" fmla="*/ 0 h 5816513"/>
              <a:gd name="connsiteX5" fmla="*/ 5477896 w 5477896"/>
              <a:gd name="connsiteY5" fmla="*/ 5513604 h 5816513"/>
              <a:gd name="connsiteX6" fmla="*/ 5318762 w 5477896"/>
              <a:gd name="connsiteY6" fmla="*/ 5576349 h 5816513"/>
              <a:gd name="connsiteX7" fmla="*/ 3957903 w 5477896"/>
              <a:gd name="connsiteY7" fmla="*/ 5816513 h 5816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477896" h="5816513">
                <a:moveTo>
                  <a:pt x="3957903" y="5816513"/>
                </a:moveTo>
                <a:cubicBezTo>
                  <a:pt x="1772013" y="5816513"/>
                  <a:pt x="0" y="4044500"/>
                  <a:pt x="0" y="1858610"/>
                </a:cubicBezTo>
                <a:cubicBezTo>
                  <a:pt x="0" y="1312139"/>
                  <a:pt x="110751" y="791533"/>
                  <a:pt x="311032" y="318016"/>
                </a:cubicBezTo>
                <a:lnTo>
                  <a:pt x="464228" y="0"/>
                </a:lnTo>
                <a:lnTo>
                  <a:pt x="5477896" y="0"/>
                </a:lnTo>
                <a:lnTo>
                  <a:pt x="5477896" y="5513604"/>
                </a:lnTo>
                <a:lnTo>
                  <a:pt x="5318762" y="5576349"/>
                </a:lnTo>
                <a:cubicBezTo>
                  <a:pt x="4894424" y="5731719"/>
                  <a:pt x="4436066" y="5816513"/>
                  <a:pt x="3957903" y="5816513"/>
                </a:cubicBezTo>
                <a:close/>
              </a:path>
            </a:pathLst>
          </a:custGeom>
          <a:gradFill>
            <a:gsLst>
              <a:gs pos="42200">
                <a:srgbClr val="4C53B8"/>
              </a:gs>
              <a:gs pos="100000">
                <a:srgbClr val="21AD84"/>
              </a:gs>
              <a:gs pos="0">
                <a:srgbClr val="DD02F8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Marcador de posición de imagen 3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07" b="12896"/>
          <a:stretch/>
        </p:blipFill>
        <p:spPr>
          <a:xfrm>
            <a:off x="0" y="1722120"/>
            <a:ext cx="5382592" cy="5097786"/>
          </a:xfrm>
          <a:solidFill>
            <a:schemeClr val="bg1">
              <a:lumMod val="85000"/>
            </a:schemeClr>
          </a:solidFill>
        </p:spPr>
      </p:pic>
      <p:sp>
        <p:nvSpPr>
          <p:cNvPr id="10" name="Title 11">
            <a:extLst>
              <a:ext uri="{FF2B5EF4-FFF2-40B4-BE49-F238E27FC236}">
                <a16:creationId xmlns:a16="http://schemas.microsoft.com/office/drawing/2014/main" id="{13BCB567-D330-8FD1-1DCF-CC7DC13B6EB4}"/>
              </a:ext>
            </a:extLst>
          </p:cNvPr>
          <p:cNvSpPr txBox="1">
            <a:spLocks/>
          </p:cNvSpPr>
          <p:nvPr/>
        </p:nvSpPr>
        <p:spPr>
          <a:xfrm>
            <a:off x="6370320" y="1844041"/>
            <a:ext cx="4680039" cy="1421892"/>
          </a:xfrm>
          <a:prstGeom prst="rect">
            <a:avLst/>
          </a:prstGeom>
        </p:spPr>
        <p:txBody>
          <a:bodyPr vert="horz" wrap="square" lIns="91416" tIns="45708" rIns="91416" bIns="45708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VE" sz="3200" b="1" dirty="0">
                <a:latin typeface="+mn-lt"/>
              </a:rPr>
              <a:t>MEDICAL IMAGING </a:t>
            </a:r>
          </a:p>
          <a:p>
            <a:pPr algn="l"/>
            <a:r>
              <a:rPr lang="es-VE" sz="3200" b="1" dirty="0">
                <a:latin typeface="+mn-lt"/>
              </a:rPr>
              <a:t>SYSTEMS</a:t>
            </a:r>
          </a:p>
          <a:p>
            <a:pPr algn="l"/>
            <a:r>
              <a:rPr lang="es-VE" sz="3200" dirty="0">
                <a:latin typeface="+mn-lt"/>
              </a:rPr>
              <a:t>(1980s)</a:t>
            </a:r>
            <a:endParaRPr lang="en-US" sz="3200" dirty="0">
              <a:solidFill>
                <a:schemeClr val="tx1">
                  <a:lumMod val="95000"/>
                  <a:lumOff val="5000"/>
                </a:schemeClr>
              </a:solidFill>
              <a:latin typeface="+mn-lt"/>
              <a:ea typeface="Roboto" panose="02000000000000000000" pitchFamily="2" charset="0"/>
              <a:cs typeface="Poppins" panose="00000500000000000000" pitchFamily="50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74B78B2-08BA-210A-E4CE-B4AB074CC227}"/>
              </a:ext>
            </a:extLst>
          </p:cNvPr>
          <p:cNvSpPr/>
          <p:nvPr/>
        </p:nvSpPr>
        <p:spPr>
          <a:xfrm>
            <a:off x="6370320" y="3423663"/>
            <a:ext cx="5086439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s-VE" dirty="0" err="1">
                <a:solidFill>
                  <a:schemeClr val="bg2">
                    <a:lumMod val="25000"/>
                  </a:schemeClr>
                </a:solidFill>
              </a:rPr>
              <a:t>Computer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</a:rPr>
              <a:t>vision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</a:rPr>
              <a:t>was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</a:rPr>
              <a:t>used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</a:rPr>
              <a:t>to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</a:rPr>
              <a:t>analyze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</a:rPr>
              <a:t> medical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</a:rPr>
              <a:t>images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</a:rPr>
              <a:t>,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</a:rPr>
              <a:t>leading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</a:rPr>
              <a:t>to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</a:rPr>
              <a:t>advancements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</a:rPr>
              <a:t> in tumor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</a:rPr>
              <a:t>detection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</a:rPr>
              <a:t> and diagnosis </a:t>
            </a:r>
            <a:endParaRPr lang="en-US" dirty="0">
              <a:solidFill>
                <a:schemeClr val="bg2">
                  <a:lumMod val="25000"/>
                </a:schemeClr>
              </a:solidFill>
              <a:cs typeface="Segoe UI Light" panose="020B0502040204020203" pitchFamily="34" charset="0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372322A4-1177-0B0B-12BC-5A95C59F478F}"/>
              </a:ext>
            </a:extLst>
          </p:cNvPr>
          <p:cNvGrpSpPr/>
          <p:nvPr/>
        </p:nvGrpSpPr>
        <p:grpSpPr>
          <a:xfrm>
            <a:off x="342905" y="220112"/>
            <a:ext cx="1832368" cy="461665"/>
            <a:chOff x="342905" y="6473150"/>
            <a:chExt cx="1832368" cy="461665"/>
          </a:xfrm>
        </p:grpSpPr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D622E8C9-5F37-5C65-ABFF-591BF8A7E798}"/>
                </a:ext>
              </a:extLst>
            </p:cNvPr>
            <p:cNvSpPr/>
            <p:nvPr/>
          </p:nvSpPr>
          <p:spPr>
            <a:xfrm>
              <a:off x="359247" y="6484041"/>
              <a:ext cx="1671958" cy="317500"/>
            </a:xfrm>
            <a:prstGeom prst="roundRect">
              <a:avLst>
                <a:gd name="adj" fmla="val 50000"/>
              </a:avLst>
            </a:prstGeom>
            <a:solidFill>
              <a:srgbClr val="21AD8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3D2E3E85-74A1-E68D-1F33-5053C9948E14}"/>
                </a:ext>
              </a:extLst>
            </p:cNvPr>
            <p:cNvSpPr txBox="1"/>
            <p:nvPr/>
          </p:nvSpPr>
          <p:spPr>
            <a:xfrm>
              <a:off x="342905" y="6473150"/>
              <a:ext cx="132397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800" dirty="0">
                  <a:solidFill>
                    <a:schemeClr val="bg1"/>
                  </a:solidFill>
                  <a:ea typeface="Open Sans" panose="020B0606030504020204" pitchFamily="34" charset="0"/>
                  <a:cs typeface="Poppins" panose="00000500000000000000" pitchFamily="50" charset="0"/>
                </a:rPr>
                <a:t>The </a:t>
              </a:r>
              <a:r>
                <a:rPr lang="en-US" sz="800" b="1" dirty="0">
                  <a:solidFill>
                    <a:schemeClr val="bg1"/>
                  </a:solidFill>
                  <a:ea typeface="Open Sans" panose="020B0606030504020204" pitchFamily="34" charset="0"/>
                  <a:cs typeface="Poppins" panose="00000500000000000000" pitchFamily="50" charset="0"/>
                </a:rPr>
                <a:t>Evolution of Computer Vision </a:t>
              </a:r>
              <a:r>
                <a:rPr lang="en-US" sz="700" dirty="0">
                  <a:solidFill>
                    <a:schemeClr val="bg1"/>
                  </a:solidFill>
                  <a:ea typeface="Open Sans" panose="020B0606030504020204" pitchFamily="34" charset="0"/>
                  <a:cs typeface="Poppins" panose="00000500000000000000" pitchFamily="50" charset="0"/>
                </a:rPr>
                <a:t>1970s – 1980s</a:t>
              </a:r>
            </a:p>
            <a:p>
              <a:pPr algn="r"/>
              <a:endParaRPr lang="en-US" sz="800" b="1" dirty="0">
                <a:solidFill>
                  <a:schemeClr val="bg1"/>
                </a:solidFill>
                <a:ea typeface="Open Sans" panose="020B0606030504020204" pitchFamily="34" charset="0"/>
                <a:cs typeface="Poppins" panose="00000500000000000000" pitchFamily="50" charset="0"/>
              </a:endParaRPr>
            </a:p>
          </p:txBody>
        </p: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72CEFE7C-EA20-BEBE-CB39-7C7F094B2DD5}"/>
                </a:ext>
              </a:extLst>
            </p:cNvPr>
            <p:cNvSpPr/>
            <p:nvPr/>
          </p:nvSpPr>
          <p:spPr>
            <a:xfrm>
              <a:off x="1653778" y="6484041"/>
              <a:ext cx="521495" cy="31750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99000">
                  <a:srgbClr val="21AD84"/>
                </a:gs>
                <a:gs pos="52000">
                  <a:srgbClr val="7030A0">
                    <a:alpha val="79000"/>
                  </a:srgbClr>
                </a:gs>
                <a:gs pos="0">
                  <a:srgbClr val="DD02F8">
                    <a:alpha val="68000"/>
                  </a:srgbClr>
                </a:gs>
              </a:gsLst>
              <a:lin ang="10800000" scaled="1"/>
              <a:tileRect/>
            </a:gra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C445DE6-A72D-04B2-D39B-0E6FAB61EF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58270" y="207190"/>
            <a:ext cx="712509" cy="365125"/>
          </a:xfrm>
        </p:spPr>
        <p:txBody>
          <a:bodyPr/>
          <a:lstStyle/>
          <a:p>
            <a:fld id="{131BCB46-63A1-4E91-AD39-9DC1D6579614}" type="slidenum">
              <a:rPr lang="en-US" sz="1600" b="1" smtClean="0">
                <a:latin typeface="+mn-lt"/>
              </a:rPr>
              <a:t>5</a:t>
            </a:fld>
            <a:endParaRPr lang="en-US" sz="1600" b="1" dirty="0">
              <a:latin typeface="+mn-lt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00CF7213-218E-6210-E140-77B8E51C248E}"/>
              </a:ext>
            </a:extLst>
          </p:cNvPr>
          <p:cNvSpPr>
            <a:spLocks noChangeAspect="1"/>
          </p:cNvSpPr>
          <p:nvPr/>
        </p:nvSpPr>
        <p:spPr>
          <a:xfrm>
            <a:off x="4044200" y="2972351"/>
            <a:ext cx="1338392" cy="1338392"/>
          </a:xfrm>
          <a:prstGeom prst="ellipse">
            <a:avLst/>
          </a:prstGeom>
          <a:solidFill>
            <a:srgbClr val="21AD84"/>
          </a:solidFill>
          <a:ln w="9525" cap="flat">
            <a:noFill/>
            <a:prstDash val="solid"/>
            <a:miter/>
          </a:ln>
          <a:effectLst/>
        </p:spPr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6" name="Rectangle 17">
            <a:extLst>
              <a:ext uri="{FF2B5EF4-FFF2-40B4-BE49-F238E27FC236}">
                <a16:creationId xmlns:a16="http://schemas.microsoft.com/office/drawing/2014/main" id="{2E715B17-90DA-B234-424F-30289BC0F1E5}"/>
              </a:ext>
            </a:extLst>
          </p:cNvPr>
          <p:cNvSpPr/>
          <p:nvPr/>
        </p:nvSpPr>
        <p:spPr>
          <a:xfrm>
            <a:off x="3900715" y="3393054"/>
            <a:ext cx="1637917" cy="430887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ctr"/>
            <a:r>
              <a:rPr lang="es-VE" sz="1600" b="1" dirty="0" err="1">
                <a:solidFill>
                  <a:schemeClr val="bg1"/>
                </a:solidFill>
              </a:rPr>
              <a:t>Mammograms</a:t>
            </a:r>
            <a:endParaRPr lang="es-VE" sz="1600" b="1" dirty="0">
              <a:solidFill>
                <a:schemeClr val="bg1"/>
              </a:solidFill>
            </a:endParaRPr>
          </a:p>
        </p:txBody>
      </p:sp>
      <p:cxnSp>
        <p:nvCxnSpPr>
          <p:cNvPr id="22" name="Straight Connector 2">
            <a:extLst>
              <a:ext uri="{FF2B5EF4-FFF2-40B4-BE49-F238E27FC236}">
                <a16:creationId xmlns:a16="http://schemas.microsoft.com/office/drawing/2014/main" id="{1573A73A-386D-1674-6A2D-EFD69163B4C7}"/>
              </a:ext>
            </a:extLst>
          </p:cNvPr>
          <p:cNvCxnSpPr>
            <a:cxnSpLocks/>
          </p:cNvCxnSpPr>
          <p:nvPr/>
        </p:nvCxnSpPr>
        <p:spPr>
          <a:xfrm flipV="1">
            <a:off x="2266871" y="393630"/>
            <a:ext cx="7943929" cy="1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11">
            <a:extLst>
              <a:ext uri="{FF2B5EF4-FFF2-40B4-BE49-F238E27FC236}">
                <a16:creationId xmlns:a16="http://schemas.microsoft.com/office/drawing/2014/main" id="{13BCB567-D330-8FD1-1DCF-CC7DC13B6EB4}"/>
              </a:ext>
            </a:extLst>
          </p:cNvPr>
          <p:cNvSpPr txBox="1">
            <a:spLocks/>
          </p:cNvSpPr>
          <p:nvPr/>
        </p:nvSpPr>
        <p:spPr>
          <a:xfrm>
            <a:off x="7914736" y="264768"/>
            <a:ext cx="4010951" cy="268718"/>
          </a:xfrm>
          <a:prstGeom prst="rect">
            <a:avLst/>
          </a:prstGeom>
        </p:spPr>
        <p:txBody>
          <a:bodyPr vert="horz" wrap="square" lIns="91416" tIns="45708" rIns="91416" bIns="45708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s-VE" sz="160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Key </a:t>
            </a:r>
            <a:r>
              <a:rPr lang="es-VE" sz="1600" dirty="0" err="1">
                <a:solidFill>
                  <a:schemeClr val="bg2">
                    <a:lumMod val="50000"/>
                  </a:schemeClr>
                </a:solidFill>
                <a:latin typeface="+mn-lt"/>
              </a:rPr>
              <a:t>Advancements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+mn-lt"/>
              <a:ea typeface="Roboto" panose="02000000000000000000" pitchFamily="2" charset="0"/>
              <a:cs typeface="Poppins" panose="000005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1621247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B74B5B78-577E-4672-4609-CD96639C0CF9}"/>
              </a:ext>
            </a:extLst>
          </p:cNvPr>
          <p:cNvSpPr/>
          <p:nvPr/>
        </p:nvSpPr>
        <p:spPr>
          <a:xfrm>
            <a:off x="6665927" y="0"/>
            <a:ext cx="5542207" cy="5848640"/>
          </a:xfrm>
          <a:custGeom>
            <a:avLst/>
            <a:gdLst>
              <a:gd name="connsiteX0" fmla="*/ 3957903 w 5477896"/>
              <a:gd name="connsiteY0" fmla="*/ 5816513 h 5816513"/>
              <a:gd name="connsiteX1" fmla="*/ 0 w 5477896"/>
              <a:gd name="connsiteY1" fmla="*/ 1858610 h 5816513"/>
              <a:gd name="connsiteX2" fmla="*/ 311032 w 5477896"/>
              <a:gd name="connsiteY2" fmla="*/ 318016 h 5816513"/>
              <a:gd name="connsiteX3" fmla="*/ 464228 w 5477896"/>
              <a:gd name="connsiteY3" fmla="*/ 0 h 5816513"/>
              <a:gd name="connsiteX4" fmla="*/ 5477896 w 5477896"/>
              <a:gd name="connsiteY4" fmla="*/ 0 h 5816513"/>
              <a:gd name="connsiteX5" fmla="*/ 5477896 w 5477896"/>
              <a:gd name="connsiteY5" fmla="*/ 5513604 h 5816513"/>
              <a:gd name="connsiteX6" fmla="*/ 5318762 w 5477896"/>
              <a:gd name="connsiteY6" fmla="*/ 5576349 h 5816513"/>
              <a:gd name="connsiteX7" fmla="*/ 3957903 w 5477896"/>
              <a:gd name="connsiteY7" fmla="*/ 5816513 h 5816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477896" h="5816513">
                <a:moveTo>
                  <a:pt x="3957903" y="5816513"/>
                </a:moveTo>
                <a:cubicBezTo>
                  <a:pt x="1772013" y="5816513"/>
                  <a:pt x="0" y="4044500"/>
                  <a:pt x="0" y="1858610"/>
                </a:cubicBezTo>
                <a:cubicBezTo>
                  <a:pt x="0" y="1312139"/>
                  <a:pt x="110751" y="791533"/>
                  <a:pt x="311032" y="318016"/>
                </a:cubicBezTo>
                <a:lnTo>
                  <a:pt x="464228" y="0"/>
                </a:lnTo>
                <a:lnTo>
                  <a:pt x="5477896" y="0"/>
                </a:lnTo>
                <a:lnTo>
                  <a:pt x="5477896" y="5513604"/>
                </a:lnTo>
                <a:lnTo>
                  <a:pt x="5318762" y="5576349"/>
                </a:lnTo>
                <a:cubicBezTo>
                  <a:pt x="4894424" y="5731719"/>
                  <a:pt x="4436066" y="5816513"/>
                  <a:pt x="3957903" y="5816513"/>
                </a:cubicBezTo>
                <a:close/>
              </a:path>
            </a:pathLst>
          </a:custGeom>
          <a:gradFill>
            <a:gsLst>
              <a:gs pos="42200">
                <a:srgbClr val="4C53B8"/>
              </a:gs>
              <a:gs pos="100000">
                <a:srgbClr val="21AD84"/>
              </a:gs>
              <a:gs pos="0">
                <a:srgbClr val="DD02F8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Marcador de posición de imagen 3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45" t="-298" r="369" b="295"/>
          <a:stretch/>
        </p:blipFill>
        <p:spPr>
          <a:xfrm flipH="1">
            <a:off x="6465662" y="1737360"/>
            <a:ext cx="5745388" cy="5120640"/>
          </a:xfrm>
          <a:solidFill>
            <a:schemeClr val="bg1">
              <a:lumMod val="85000"/>
            </a:schemeClr>
          </a:solidFill>
        </p:spPr>
      </p:pic>
      <p:sp>
        <p:nvSpPr>
          <p:cNvPr id="10" name="Title 11">
            <a:extLst>
              <a:ext uri="{FF2B5EF4-FFF2-40B4-BE49-F238E27FC236}">
                <a16:creationId xmlns:a16="http://schemas.microsoft.com/office/drawing/2014/main" id="{13BCB567-D330-8FD1-1DCF-CC7DC13B6EB4}"/>
              </a:ext>
            </a:extLst>
          </p:cNvPr>
          <p:cNvSpPr txBox="1">
            <a:spLocks/>
          </p:cNvSpPr>
          <p:nvPr/>
        </p:nvSpPr>
        <p:spPr>
          <a:xfrm>
            <a:off x="452193" y="2125052"/>
            <a:ext cx="4680039" cy="801005"/>
          </a:xfrm>
          <a:prstGeom prst="rect">
            <a:avLst/>
          </a:prstGeom>
        </p:spPr>
        <p:txBody>
          <a:bodyPr vert="horz" wrap="square" lIns="91416" tIns="45708" rIns="91416" bIns="45708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VE" sz="3200" b="1" dirty="0">
                <a:latin typeface="+mn-lt"/>
              </a:rPr>
              <a:t>INDUSTRIAL ROBOTICS</a:t>
            </a:r>
          </a:p>
          <a:p>
            <a:pPr algn="l"/>
            <a:r>
              <a:rPr lang="es-VE" sz="3200" dirty="0">
                <a:latin typeface="+mn-lt"/>
              </a:rPr>
              <a:t>(1980s)</a:t>
            </a:r>
            <a:endParaRPr lang="en-US" sz="3200" dirty="0">
              <a:solidFill>
                <a:schemeClr val="tx1">
                  <a:lumMod val="95000"/>
                  <a:lumOff val="5000"/>
                </a:schemeClr>
              </a:solidFill>
              <a:latin typeface="+mn-lt"/>
              <a:ea typeface="Roboto" panose="02000000000000000000" pitchFamily="2" charset="0"/>
              <a:cs typeface="Poppins" panose="00000500000000000000" pitchFamily="50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74B78B2-08BA-210A-E4CE-B4AB074CC227}"/>
              </a:ext>
            </a:extLst>
          </p:cNvPr>
          <p:cNvSpPr/>
          <p:nvPr/>
        </p:nvSpPr>
        <p:spPr>
          <a:xfrm>
            <a:off x="452193" y="3169490"/>
            <a:ext cx="5086439" cy="12958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s-VE" dirty="0" err="1">
                <a:solidFill>
                  <a:schemeClr val="bg2">
                    <a:lumMod val="25000"/>
                  </a:schemeClr>
                </a:solidFill>
              </a:rPr>
              <a:t>Vision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</a:rPr>
              <a:t>systems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</a:rPr>
              <a:t>were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</a:rPr>
              <a:t>integrated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</a:rPr>
              <a:t>into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</a:rPr>
              <a:t> industrial robots,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</a:rPr>
              <a:t>enabling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</a:rPr>
              <a:t>automated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</a:rPr>
              <a:t>assembly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</a:rPr>
              <a:t>lines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</a:rPr>
              <a:t> in industries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</a:rPr>
              <a:t>like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</a:rPr>
              <a:t>automotive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dirty="0" err="1">
                <a:solidFill>
                  <a:schemeClr val="bg2">
                    <a:lumMod val="25000"/>
                  </a:schemeClr>
                </a:solidFill>
              </a:rPr>
              <a:t>manufacturing</a:t>
            </a:r>
            <a:r>
              <a:rPr lang="es-VE" dirty="0">
                <a:solidFill>
                  <a:schemeClr val="bg2">
                    <a:lumMod val="25000"/>
                  </a:schemeClr>
                </a:solidFill>
              </a:rPr>
              <a:t>. </a:t>
            </a:r>
            <a:endParaRPr lang="en-US" dirty="0">
              <a:solidFill>
                <a:schemeClr val="bg2">
                  <a:lumMod val="25000"/>
                </a:schemeClr>
              </a:solidFill>
              <a:cs typeface="Segoe UI Light" panose="020B0502040204020203" pitchFamily="34" charset="0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372322A4-1177-0B0B-12BC-5A95C59F478F}"/>
              </a:ext>
            </a:extLst>
          </p:cNvPr>
          <p:cNvGrpSpPr/>
          <p:nvPr/>
        </p:nvGrpSpPr>
        <p:grpSpPr>
          <a:xfrm>
            <a:off x="342905" y="220112"/>
            <a:ext cx="1832368" cy="461665"/>
            <a:chOff x="342905" y="6473150"/>
            <a:chExt cx="1832368" cy="461665"/>
          </a:xfrm>
        </p:grpSpPr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D622E8C9-5F37-5C65-ABFF-591BF8A7E798}"/>
                </a:ext>
              </a:extLst>
            </p:cNvPr>
            <p:cNvSpPr/>
            <p:nvPr/>
          </p:nvSpPr>
          <p:spPr>
            <a:xfrm>
              <a:off x="359247" y="6484041"/>
              <a:ext cx="1816026" cy="317500"/>
            </a:xfrm>
            <a:prstGeom prst="roundRect">
              <a:avLst>
                <a:gd name="adj" fmla="val 50000"/>
              </a:avLst>
            </a:prstGeom>
            <a:solidFill>
              <a:srgbClr val="21AD8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3D2E3E85-74A1-E68D-1F33-5053C9948E14}"/>
                </a:ext>
              </a:extLst>
            </p:cNvPr>
            <p:cNvSpPr txBox="1"/>
            <p:nvPr/>
          </p:nvSpPr>
          <p:spPr>
            <a:xfrm>
              <a:off x="342905" y="6473150"/>
              <a:ext cx="132397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800" dirty="0">
                  <a:solidFill>
                    <a:schemeClr val="bg1"/>
                  </a:solidFill>
                  <a:ea typeface="Open Sans" panose="020B0606030504020204" pitchFamily="34" charset="0"/>
                  <a:cs typeface="Poppins" panose="00000500000000000000" pitchFamily="50" charset="0"/>
                </a:rPr>
                <a:t>The </a:t>
              </a:r>
              <a:r>
                <a:rPr lang="en-US" sz="800" b="1" dirty="0">
                  <a:solidFill>
                    <a:schemeClr val="bg1"/>
                  </a:solidFill>
                  <a:ea typeface="Open Sans" panose="020B0606030504020204" pitchFamily="34" charset="0"/>
                  <a:cs typeface="Poppins" panose="00000500000000000000" pitchFamily="50" charset="0"/>
                </a:rPr>
                <a:t>Evolution of Computer Vision </a:t>
              </a:r>
              <a:r>
                <a:rPr lang="en-US" sz="700" dirty="0">
                  <a:solidFill>
                    <a:schemeClr val="bg1"/>
                  </a:solidFill>
                  <a:ea typeface="Open Sans" panose="020B0606030504020204" pitchFamily="34" charset="0"/>
                  <a:cs typeface="Poppins" panose="00000500000000000000" pitchFamily="50" charset="0"/>
                </a:rPr>
                <a:t>1970s – 1980s</a:t>
              </a:r>
            </a:p>
            <a:p>
              <a:pPr algn="r"/>
              <a:endParaRPr lang="en-US" sz="800" b="1" dirty="0">
                <a:solidFill>
                  <a:schemeClr val="bg1"/>
                </a:solidFill>
                <a:ea typeface="Open Sans" panose="020B0606030504020204" pitchFamily="34" charset="0"/>
                <a:cs typeface="Poppins" panose="00000500000000000000" pitchFamily="50" charset="0"/>
              </a:endParaRPr>
            </a:p>
          </p:txBody>
        </p: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72CEFE7C-EA20-BEBE-CB39-7C7F094B2DD5}"/>
                </a:ext>
              </a:extLst>
            </p:cNvPr>
            <p:cNvSpPr/>
            <p:nvPr/>
          </p:nvSpPr>
          <p:spPr>
            <a:xfrm>
              <a:off x="1653778" y="6484041"/>
              <a:ext cx="521495" cy="31750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99000">
                  <a:srgbClr val="21AD84"/>
                </a:gs>
                <a:gs pos="52000">
                  <a:srgbClr val="7030A0">
                    <a:alpha val="79000"/>
                  </a:srgbClr>
                </a:gs>
                <a:gs pos="0">
                  <a:srgbClr val="DD02F8">
                    <a:alpha val="68000"/>
                  </a:srgbClr>
                </a:gs>
              </a:gsLst>
              <a:lin ang="10800000" scaled="1"/>
              <a:tileRect/>
            </a:gra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C445DE6-A72D-04B2-D39B-0E6FAB61EF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58270" y="207190"/>
            <a:ext cx="712509" cy="365125"/>
          </a:xfrm>
        </p:spPr>
        <p:txBody>
          <a:bodyPr/>
          <a:lstStyle/>
          <a:p>
            <a:fld id="{131BCB46-63A1-4E91-AD39-9DC1D6579614}" type="slidenum">
              <a:rPr lang="en-US" sz="1600" b="1" smtClean="0">
                <a:latin typeface="+mn-lt"/>
              </a:rPr>
              <a:t>6</a:t>
            </a:fld>
            <a:endParaRPr lang="en-US" sz="1600" b="1" dirty="0">
              <a:latin typeface="+mn-lt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00CF7213-218E-6210-E140-77B8E51C248E}"/>
              </a:ext>
            </a:extLst>
          </p:cNvPr>
          <p:cNvSpPr>
            <a:spLocks noChangeAspect="1"/>
          </p:cNvSpPr>
          <p:nvPr/>
        </p:nvSpPr>
        <p:spPr>
          <a:xfrm>
            <a:off x="6120864" y="2500294"/>
            <a:ext cx="1338392" cy="1338392"/>
          </a:xfrm>
          <a:prstGeom prst="ellipse">
            <a:avLst/>
          </a:prstGeom>
          <a:solidFill>
            <a:srgbClr val="21AD84"/>
          </a:solidFill>
          <a:ln w="9525" cap="flat">
            <a:noFill/>
            <a:prstDash val="solid"/>
            <a:miter/>
          </a:ln>
          <a:effectLst/>
        </p:spPr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6" name="Rectangle 17">
            <a:extLst>
              <a:ext uri="{FF2B5EF4-FFF2-40B4-BE49-F238E27FC236}">
                <a16:creationId xmlns:a16="http://schemas.microsoft.com/office/drawing/2014/main" id="{2E715B17-90DA-B234-424F-30289BC0F1E5}"/>
              </a:ext>
            </a:extLst>
          </p:cNvPr>
          <p:cNvSpPr/>
          <p:nvPr/>
        </p:nvSpPr>
        <p:spPr>
          <a:xfrm>
            <a:off x="5952051" y="2886220"/>
            <a:ext cx="1637917" cy="430887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ctr"/>
            <a:r>
              <a:rPr lang="es-VE" sz="1400" b="1" dirty="0">
                <a:solidFill>
                  <a:schemeClr val="bg1"/>
                </a:solidFill>
              </a:rPr>
              <a:t>Robot</a:t>
            </a:r>
          </a:p>
          <a:p>
            <a:pPr algn="ctr"/>
            <a:r>
              <a:rPr lang="es-VE" sz="1400" b="1" dirty="0">
                <a:solidFill>
                  <a:schemeClr val="bg1"/>
                </a:solidFill>
              </a:rPr>
              <a:t> </a:t>
            </a:r>
            <a:r>
              <a:rPr lang="es-VE" sz="1400" b="1" dirty="0" err="1">
                <a:solidFill>
                  <a:schemeClr val="bg1"/>
                </a:solidFill>
              </a:rPr>
              <a:t>Assembling</a:t>
            </a:r>
            <a:r>
              <a:rPr lang="es-VE" sz="1400" b="1" dirty="0">
                <a:solidFill>
                  <a:schemeClr val="bg1"/>
                </a:solidFill>
              </a:rPr>
              <a:t> </a:t>
            </a:r>
            <a:r>
              <a:rPr lang="es-VE" sz="1400" b="1" dirty="0" err="1">
                <a:solidFill>
                  <a:schemeClr val="bg1"/>
                </a:solidFill>
              </a:rPr>
              <a:t>Parts</a:t>
            </a:r>
            <a:endParaRPr lang="es-VE" sz="1400" b="1" dirty="0">
              <a:solidFill>
                <a:schemeClr val="bg1"/>
              </a:solidFill>
            </a:endParaRPr>
          </a:p>
        </p:txBody>
      </p:sp>
      <p:cxnSp>
        <p:nvCxnSpPr>
          <p:cNvPr id="17" name="Straight Connector 2">
            <a:extLst>
              <a:ext uri="{FF2B5EF4-FFF2-40B4-BE49-F238E27FC236}">
                <a16:creationId xmlns:a16="http://schemas.microsoft.com/office/drawing/2014/main" id="{1573A73A-386D-1674-6A2D-EFD69163B4C7}"/>
              </a:ext>
            </a:extLst>
          </p:cNvPr>
          <p:cNvCxnSpPr>
            <a:cxnSpLocks/>
          </p:cNvCxnSpPr>
          <p:nvPr/>
        </p:nvCxnSpPr>
        <p:spPr>
          <a:xfrm flipV="1">
            <a:off x="2266871" y="393630"/>
            <a:ext cx="7943929" cy="1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11">
            <a:extLst>
              <a:ext uri="{FF2B5EF4-FFF2-40B4-BE49-F238E27FC236}">
                <a16:creationId xmlns:a16="http://schemas.microsoft.com/office/drawing/2014/main" id="{13BCB567-D330-8FD1-1DCF-CC7DC13B6EB4}"/>
              </a:ext>
            </a:extLst>
          </p:cNvPr>
          <p:cNvSpPr txBox="1">
            <a:spLocks/>
          </p:cNvSpPr>
          <p:nvPr/>
        </p:nvSpPr>
        <p:spPr>
          <a:xfrm>
            <a:off x="7914736" y="264768"/>
            <a:ext cx="4010951" cy="268718"/>
          </a:xfrm>
          <a:prstGeom prst="rect">
            <a:avLst/>
          </a:prstGeom>
        </p:spPr>
        <p:txBody>
          <a:bodyPr vert="horz" wrap="square" lIns="91416" tIns="45708" rIns="91416" bIns="45708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s-VE" sz="1600" dirty="0">
                <a:solidFill>
                  <a:schemeClr val="bg1"/>
                </a:solidFill>
                <a:latin typeface="+mn-lt"/>
              </a:rPr>
              <a:t>Key </a:t>
            </a:r>
            <a:r>
              <a:rPr lang="es-VE" sz="1600" dirty="0" err="1">
                <a:solidFill>
                  <a:schemeClr val="bg1"/>
                </a:solidFill>
                <a:latin typeface="+mn-lt"/>
              </a:rPr>
              <a:t>Advancements</a:t>
            </a:r>
            <a:endParaRPr lang="en-US" sz="1600" dirty="0">
              <a:solidFill>
                <a:schemeClr val="bg1"/>
              </a:solidFill>
              <a:latin typeface="+mn-lt"/>
              <a:ea typeface="Roboto" panose="02000000000000000000" pitchFamily="2" charset="0"/>
              <a:cs typeface="Poppins" panose="000005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4306520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2245F0-7CE8-82C5-2B0E-384A80C252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337263B7-769B-2564-FA6A-1B295F9C9B42}"/>
              </a:ext>
            </a:extLst>
          </p:cNvPr>
          <p:cNvSpPr/>
          <p:nvPr/>
        </p:nvSpPr>
        <p:spPr>
          <a:xfrm flipV="1">
            <a:off x="-15183" y="-1"/>
            <a:ext cx="12207183" cy="3781425"/>
          </a:xfrm>
          <a:custGeom>
            <a:avLst/>
            <a:gdLst>
              <a:gd name="connsiteX0" fmla="*/ 9166774 w 18310774"/>
              <a:gd name="connsiteY0" fmla="*/ 0 h 4462498"/>
              <a:gd name="connsiteX1" fmla="*/ 18085184 w 18310774"/>
              <a:gd name="connsiteY1" fmla="*/ 1070966 h 4462498"/>
              <a:gd name="connsiteX2" fmla="*/ 18310774 w 18310774"/>
              <a:gd name="connsiteY2" fmla="*/ 1136331 h 4462498"/>
              <a:gd name="connsiteX3" fmla="*/ 18310774 w 18310774"/>
              <a:gd name="connsiteY3" fmla="*/ 4462498 h 4462498"/>
              <a:gd name="connsiteX4" fmla="*/ 0 w 18310774"/>
              <a:gd name="connsiteY4" fmla="*/ 4462498 h 4462498"/>
              <a:gd name="connsiteX5" fmla="*/ 0 w 18310774"/>
              <a:gd name="connsiteY5" fmla="*/ 1142929 h 4462498"/>
              <a:gd name="connsiteX6" fmla="*/ 248363 w 18310774"/>
              <a:gd name="connsiteY6" fmla="*/ 1070966 h 4462498"/>
              <a:gd name="connsiteX7" fmla="*/ 9166774 w 18310774"/>
              <a:gd name="connsiteY7" fmla="*/ 0 h 4462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310774" h="4462498">
                <a:moveTo>
                  <a:pt x="9166774" y="0"/>
                </a:moveTo>
                <a:cubicBezTo>
                  <a:pt x="12554497" y="0"/>
                  <a:pt x="15661596" y="401911"/>
                  <a:pt x="18085184" y="1070966"/>
                </a:cubicBezTo>
                <a:lnTo>
                  <a:pt x="18310774" y="1136331"/>
                </a:lnTo>
                <a:lnTo>
                  <a:pt x="18310774" y="4462498"/>
                </a:lnTo>
                <a:lnTo>
                  <a:pt x="0" y="4462498"/>
                </a:lnTo>
                <a:lnTo>
                  <a:pt x="0" y="1142929"/>
                </a:lnTo>
                <a:lnTo>
                  <a:pt x="248363" y="1070966"/>
                </a:lnTo>
                <a:cubicBezTo>
                  <a:pt x="2671951" y="401911"/>
                  <a:pt x="5779051" y="0"/>
                  <a:pt x="9166774" y="0"/>
                </a:cubicBezTo>
                <a:close/>
              </a:path>
            </a:pathLst>
          </a:custGeom>
          <a:gradFill>
            <a:gsLst>
              <a:gs pos="42200">
                <a:srgbClr val="4C53B8"/>
              </a:gs>
              <a:gs pos="100000">
                <a:srgbClr val="21AD84"/>
              </a:gs>
              <a:gs pos="0">
                <a:srgbClr val="DD02F8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879138D7-763D-1FEF-D0DF-DAEC4ECAA2A9}"/>
              </a:ext>
            </a:extLst>
          </p:cNvPr>
          <p:cNvCxnSpPr>
            <a:cxnSpLocks/>
          </p:cNvCxnSpPr>
          <p:nvPr/>
        </p:nvCxnSpPr>
        <p:spPr>
          <a:xfrm>
            <a:off x="2266871" y="393627"/>
            <a:ext cx="747571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Oval 3">
            <a:extLst>
              <a:ext uri="{FF2B5EF4-FFF2-40B4-BE49-F238E27FC236}">
                <a16:creationId xmlns:a16="http://schemas.microsoft.com/office/drawing/2014/main" id="{98165BD1-E0E1-52AB-95D1-A83A38F022AC}"/>
              </a:ext>
            </a:extLst>
          </p:cNvPr>
          <p:cNvSpPr>
            <a:spLocks noChangeAspect="1"/>
          </p:cNvSpPr>
          <p:nvPr/>
        </p:nvSpPr>
        <p:spPr>
          <a:xfrm flipH="1">
            <a:off x="1510211" y="1945730"/>
            <a:ext cx="2429091" cy="2429091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84200" dist="368300" dir="2700000" algn="tl" rotWithShape="0">
              <a:prstClr val="black">
                <a:alpha val="1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chemeClr val="lt1"/>
              </a:solidFill>
            </a:endParaRPr>
          </a:p>
        </p:txBody>
      </p:sp>
      <p:sp>
        <p:nvSpPr>
          <p:cNvPr id="5" name="Arc 4">
            <a:extLst>
              <a:ext uri="{FF2B5EF4-FFF2-40B4-BE49-F238E27FC236}">
                <a16:creationId xmlns:a16="http://schemas.microsoft.com/office/drawing/2014/main" id="{D47EA2A0-48EA-2075-E092-FF9F0256D043}"/>
              </a:ext>
            </a:extLst>
          </p:cNvPr>
          <p:cNvSpPr>
            <a:spLocks noChangeAspect="1"/>
          </p:cNvSpPr>
          <p:nvPr/>
        </p:nvSpPr>
        <p:spPr>
          <a:xfrm>
            <a:off x="1486854" y="1922373"/>
            <a:ext cx="2475804" cy="2475804"/>
          </a:xfrm>
          <a:prstGeom prst="arc">
            <a:avLst>
              <a:gd name="adj1" fmla="val 21319324"/>
              <a:gd name="adj2" fmla="val 10784052"/>
            </a:avLst>
          </a:prstGeom>
          <a:ln w="111125" cap="rnd">
            <a:solidFill>
              <a:srgbClr val="21AD84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x-none">
              <a:solidFill>
                <a:schemeClr val="tx1">
                  <a:lumMod val="95000"/>
                  <a:lumOff val="5000"/>
                </a:schemeClr>
              </a:solidFill>
              <a:latin typeface="Poppins" panose="00000500000000000000" pitchFamily="50" charset="0"/>
              <a:cs typeface="Poppins" panose="00000500000000000000" pitchFamily="50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ADF96593-33DE-045A-041C-3090CF2BC5E4}"/>
              </a:ext>
            </a:extLst>
          </p:cNvPr>
          <p:cNvSpPr/>
          <p:nvPr/>
        </p:nvSpPr>
        <p:spPr>
          <a:xfrm>
            <a:off x="1342070" y="2870707"/>
            <a:ext cx="289568" cy="289568"/>
          </a:xfrm>
          <a:prstGeom prst="ellipse">
            <a:avLst/>
          </a:prstGeom>
          <a:solidFill>
            <a:srgbClr val="21AD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chemeClr val="tx1">
                  <a:lumMod val="95000"/>
                  <a:lumOff val="5000"/>
                </a:schemeClr>
              </a:solidFill>
              <a:latin typeface="Poppins" panose="00000500000000000000" pitchFamily="50" charset="0"/>
              <a:cs typeface="Poppins" panose="00000500000000000000" pitchFamily="50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3870F1D-39DF-5CD9-5A5C-B19539F5A2AC}"/>
              </a:ext>
            </a:extLst>
          </p:cNvPr>
          <p:cNvSpPr>
            <a:spLocks noChangeAspect="1"/>
          </p:cNvSpPr>
          <p:nvPr/>
        </p:nvSpPr>
        <p:spPr>
          <a:xfrm flipH="1">
            <a:off x="3697981" y="1945730"/>
            <a:ext cx="2429091" cy="2429091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84200" dist="368300" dir="2700000" algn="tl" rotWithShape="0">
              <a:prstClr val="black">
                <a:alpha val="1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chemeClr val="lt1"/>
              </a:solidFill>
            </a:endParaRPr>
          </a:p>
        </p:txBody>
      </p:sp>
      <p:sp>
        <p:nvSpPr>
          <p:cNvPr id="8" name="Arc 7">
            <a:extLst>
              <a:ext uri="{FF2B5EF4-FFF2-40B4-BE49-F238E27FC236}">
                <a16:creationId xmlns:a16="http://schemas.microsoft.com/office/drawing/2014/main" id="{EAC739FA-C9DF-C7CE-765F-87734FCFC4F2}"/>
              </a:ext>
            </a:extLst>
          </p:cNvPr>
          <p:cNvSpPr>
            <a:spLocks noChangeAspect="1"/>
          </p:cNvSpPr>
          <p:nvPr/>
        </p:nvSpPr>
        <p:spPr>
          <a:xfrm>
            <a:off x="3674625" y="1922373"/>
            <a:ext cx="2475804" cy="2475804"/>
          </a:xfrm>
          <a:prstGeom prst="arc">
            <a:avLst>
              <a:gd name="adj1" fmla="val 21319324"/>
              <a:gd name="adj2" fmla="val 10784052"/>
            </a:avLst>
          </a:prstGeom>
          <a:ln w="111125" cap="rnd">
            <a:solidFill>
              <a:srgbClr val="4C53B8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x-none">
              <a:solidFill>
                <a:schemeClr val="tx1">
                  <a:lumMod val="95000"/>
                  <a:lumOff val="5000"/>
                </a:schemeClr>
              </a:solidFill>
              <a:latin typeface="Poppins" panose="00000500000000000000" pitchFamily="50" charset="0"/>
              <a:cs typeface="Poppins" panose="00000500000000000000" pitchFamily="50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000AA082-A278-56D3-CCFA-ACE90A18758E}"/>
              </a:ext>
            </a:extLst>
          </p:cNvPr>
          <p:cNvSpPr/>
          <p:nvPr/>
        </p:nvSpPr>
        <p:spPr>
          <a:xfrm>
            <a:off x="3529841" y="2870707"/>
            <a:ext cx="289568" cy="289568"/>
          </a:xfrm>
          <a:prstGeom prst="ellipse">
            <a:avLst/>
          </a:prstGeom>
          <a:solidFill>
            <a:srgbClr val="4C53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chemeClr val="tx1">
                  <a:lumMod val="95000"/>
                  <a:lumOff val="5000"/>
                </a:schemeClr>
              </a:solidFill>
              <a:latin typeface="Poppins" panose="00000500000000000000" pitchFamily="50" charset="0"/>
              <a:cs typeface="Poppins" panose="00000500000000000000" pitchFamily="50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F8D1D8C-CEC6-43EA-AF4C-4F96293E77A2}"/>
              </a:ext>
            </a:extLst>
          </p:cNvPr>
          <p:cNvSpPr>
            <a:spLocks noChangeAspect="1"/>
          </p:cNvSpPr>
          <p:nvPr/>
        </p:nvSpPr>
        <p:spPr>
          <a:xfrm flipH="1">
            <a:off x="5885754" y="1945730"/>
            <a:ext cx="2429091" cy="2429091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84200" dist="368300" dir="2700000" algn="tl" rotWithShape="0">
              <a:prstClr val="black">
                <a:alpha val="1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chemeClr val="lt1"/>
              </a:solidFill>
            </a:endParaRPr>
          </a:p>
        </p:txBody>
      </p:sp>
      <p:sp>
        <p:nvSpPr>
          <p:cNvPr id="18" name="Arc 17">
            <a:extLst>
              <a:ext uri="{FF2B5EF4-FFF2-40B4-BE49-F238E27FC236}">
                <a16:creationId xmlns:a16="http://schemas.microsoft.com/office/drawing/2014/main" id="{BCC73D3B-4ED4-F0BB-F6EE-FB7BF55A6520}"/>
              </a:ext>
            </a:extLst>
          </p:cNvPr>
          <p:cNvSpPr>
            <a:spLocks noChangeAspect="1"/>
          </p:cNvSpPr>
          <p:nvPr/>
        </p:nvSpPr>
        <p:spPr>
          <a:xfrm>
            <a:off x="5862398" y="1922373"/>
            <a:ext cx="2475804" cy="2475804"/>
          </a:xfrm>
          <a:prstGeom prst="arc">
            <a:avLst>
              <a:gd name="adj1" fmla="val 21319324"/>
              <a:gd name="adj2" fmla="val 10784052"/>
            </a:avLst>
          </a:prstGeom>
          <a:ln w="111125" cap="rnd">
            <a:solidFill>
              <a:srgbClr val="F2692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x-none">
              <a:solidFill>
                <a:schemeClr val="tx1">
                  <a:lumMod val="95000"/>
                  <a:lumOff val="5000"/>
                </a:schemeClr>
              </a:solidFill>
              <a:latin typeface="Poppins" panose="00000500000000000000" pitchFamily="50" charset="0"/>
              <a:cs typeface="Poppins" panose="00000500000000000000" pitchFamily="50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F5A4A8EF-6870-0D52-707D-35BCE129C74C}"/>
              </a:ext>
            </a:extLst>
          </p:cNvPr>
          <p:cNvSpPr/>
          <p:nvPr/>
        </p:nvSpPr>
        <p:spPr>
          <a:xfrm>
            <a:off x="5717612" y="2870707"/>
            <a:ext cx="289568" cy="289568"/>
          </a:xfrm>
          <a:prstGeom prst="ellipse">
            <a:avLst/>
          </a:prstGeom>
          <a:solidFill>
            <a:srgbClr val="F269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chemeClr val="tx1">
                  <a:lumMod val="95000"/>
                  <a:lumOff val="5000"/>
                </a:schemeClr>
              </a:solidFill>
              <a:latin typeface="Poppins" panose="00000500000000000000" pitchFamily="50" charset="0"/>
              <a:cs typeface="Poppins" panose="00000500000000000000" pitchFamily="50" charset="0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E570586C-B663-3662-F128-328DCECA52AD}"/>
              </a:ext>
            </a:extLst>
          </p:cNvPr>
          <p:cNvSpPr>
            <a:spLocks noChangeAspect="1"/>
          </p:cNvSpPr>
          <p:nvPr/>
        </p:nvSpPr>
        <p:spPr>
          <a:xfrm flipH="1">
            <a:off x="8073524" y="1945730"/>
            <a:ext cx="2429091" cy="2429091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84200" dist="368300" dir="2700000" algn="tl" rotWithShape="0">
              <a:prstClr val="black">
                <a:alpha val="1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chemeClr val="lt1"/>
              </a:solidFill>
            </a:endParaRPr>
          </a:p>
        </p:txBody>
      </p:sp>
      <p:sp>
        <p:nvSpPr>
          <p:cNvPr id="21" name="Arc 20">
            <a:extLst>
              <a:ext uri="{FF2B5EF4-FFF2-40B4-BE49-F238E27FC236}">
                <a16:creationId xmlns:a16="http://schemas.microsoft.com/office/drawing/2014/main" id="{0458FDF1-4DD0-01B1-5A9B-75964FF37584}"/>
              </a:ext>
            </a:extLst>
          </p:cNvPr>
          <p:cNvSpPr>
            <a:spLocks noChangeAspect="1"/>
          </p:cNvSpPr>
          <p:nvPr/>
        </p:nvSpPr>
        <p:spPr>
          <a:xfrm>
            <a:off x="8050167" y="1922373"/>
            <a:ext cx="2475804" cy="2475804"/>
          </a:xfrm>
          <a:prstGeom prst="arc">
            <a:avLst>
              <a:gd name="adj1" fmla="val 21319324"/>
              <a:gd name="adj2" fmla="val 10784052"/>
            </a:avLst>
          </a:prstGeom>
          <a:ln w="111125" cap="rnd">
            <a:solidFill>
              <a:srgbClr val="DD02F8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x-none">
              <a:solidFill>
                <a:schemeClr val="tx1">
                  <a:lumMod val="95000"/>
                  <a:lumOff val="5000"/>
                </a:schemeClr>
              </a:solidFill>
              <a:latin typeface="Poppins" panose="00000500000000000000" pitchFamily="50" charset="0"/>
              <a:cs typeface="Poppins" panose="00000500000000000000" pitchFamily="50" charset="0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AD0506BA-C2E0-2CE7-4BFB-3286901F8710}"/>
              </a:ext>
            </a:extLst>
          </p:cNvPr>
          <p:cNvSpPr/>
          <p:nvPr/>
        </p:nvSpPr>
        <p:spPr>
          <a:xfrm>
            <a:off x="7905382" y="2870707"/>
            <a:ext cx="289568" cy="289568"/>
          </a:xfrm>
          <a:prstGeom prst="ellipse">
            <a:avLst/>
          </a:prstGeom>
          <a:solidFill>
            <a:srgbClr val="DD02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chemeClr val="tx1">
                  <a:lumMod val="95000"/>
                  <a:lumOff val="5000"/>
                </a:schemeClr>
              </a:solidFill>
              <a:latin typeface="Poppins" panose="00000500000000000000" pitchFamily="50" charset="0"/>
              <a:cs typeface="Poppins" panose="00000500000000000000" pitchFamily="50" charset="0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FBFE62D6-3A1E-F901-A033-CE613C68FCAC}"/>
              </a:ext>
            </a:extLst>
          </p:cNvPr>
          <p:cNvSpPr>
            <a:spLocks noChangeAspect="1"/>
          </p:cNvSpPr>
          <p:nvPr/>
        </p:nvSpPr>
        <p:spPr>
          <a:xfrm>
            <a:off x="1951734" y="2387253"/>
            <a:ext cx="1546046" cy="154604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84200" dist="368300" dir="2700000" algn="tl" rotWithShape="0">
              <a:prstClr val="black">
                <a:alpha val="1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AB7D4B14-D22E-950A-AFA0-3F3985E4C28F}"/>
              </a:ext>
            </a:extLst>
          </p:cNvPr>
          <p:cNvSpPr>
            <a:spLocks noChangeAspect="1"/>
          </p:cNvSpPr>
          <p:nvPr/>
        </p:nvSpPr>
        <p:spPr>
          <a:xfrm>
            <a:off x="4139504" y="2387253"/>
            <a:ext cx="1546046" cy="154604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84200" dist="368300" dir="2700000" algn="tl" rotWithShape="0">
              <a:prstClr val="black">
                <a:alpha val="1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2726E173-AB01-EB1F-AB87-9224752A0356}"/>
              </a:ext>
            </a:extLst>
          </p:cNvPr>
          <p:cNvSpPr>
            <a:spLocks noChangeAspect="1"/>
          </p:cNvSpPr>
          <p:nvPr/>
        </p:nvSpPr>
        <p:spPr>
          <a:xfrm>
            <a:off x="6327276" y="2387253"/>
            <a:ext cx="1546046" cy="154604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84200" dist="368300" dir="2700000" algn="tl" rotWithShape="0">
              <a:prstClr val="black">
                <a:alpha val="1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3B5BDAFE-EE8F-3A84-B1A0-C10BCF05BE9C}"/>
              </a:ext>
            </a:extLst>
          </p:cNvPr>
          <p:cNvSpPr>
            <a:spLocks noChangeAspect="1"/>
          </p:cNvSpPr>
          <p:nvPr/>
        </p:nvSpPr>
        <p:spPr>
          <a:xfrm>
            <a:off x="8515047" y="2387253"/>
            <a:ext cx="1546046" cy="154604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84200" dist="368300" dir="2700000" algn="tl" rotWithShape="0">
              <a:prstClr val="black">
                <a:alpha val="1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50C292A-E5BB-1928-CCA6-C0ECD8FDDCE9}"/>
              </a:ext>
            </a:extLst>
          </p:cNvPr>
          <p:cNvSpPr txBox="1"/>
          <p:nvPr/>
        </p:nvSpPr>
        <p:spPr>
          <a:xfrm>
            <a:off x="1925230" y="4684528"/>
            <a:ext cx="1479929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cs typeface="Poppins" panose="00000500000000000000" pitchFamily="50" charset="0"/>
              </a:rPr>
              <a:t>(1945-1980)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CF5ADFF-1049-1A7F-80FD-5BBB0B59DDC5}"/>
              </a:ext>
            </a:extLst>
          </p:cNvPr>
          <p:cNvSpPr txBox="1"/>
          <p:nvPr/>
        </p:nvSpPr>
        <p:spPr>
          <a:xfrm>
            <a:off x="1994110" y="1586686"/>
            <a:ext cx="1342166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cs typeface="Poppins" panose="00000500000000000000" pitchFamily="50" charset="0"/>
              </a:rPr>
              <a:t>David Marr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17E353EF-06BE-DD2A-1E52-968A11403F76}"/>
              </a:ext>
            </a:extLst>
          </p:cNvPr>
          <p:cNvSpPr/>
          <p:nvPr/>
        </p:nvSpPr>
        <p:spPr>
          <a:xfrm>
            <a:off x="1715324" y="4929057"/>
            <a:ext cx="201886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VE" sz="1200" dirty="0" err="1">
                <a:solidFill>
                  <a:schemeClr val="bg2">
                    <a:lumMod val="25000"/>
                  </a:schemeClr>
                </a:solidFill>
              </a:rPr>
              <a:t>Marr’s</a:t>
            </a:r>
            <a:r>
              <a:rPr lang="es-VE" sz="12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200" dirty="0" err="1">
                <a:solidFill>
                  <a:schemeClr val="bg2">
                    <a:lumMod val="25000"/>
                  </a:schemeClr>
                </a:solidFill>
              </a:rPr>
              <a:t>work</a:t>
            </a:r>
            <a:r>
              <a:rPr lang="es-VE" sz="1200" dirty="0">
                <a:solidFill>
                  <a:schemeClr val="bg2">
                    <a:lumMod val="25000"/>
                  </a:schemeClr>
                </a:solidFill>
              </a:rPr>
              <a:t> in </a:t>
            </a:r>
            <a:r>
              <a:rPr lang="es-VE" sz="1200" dirty="0" err="1">
                <a:solidFill>
                  <a:schemeClr val="bg2">
                    <a:lumMod val="25000"/>
                  </a:schemeClr>
                </a:solidFill>
              </a:rPr>
              <a:t>the</a:t>
            </a:r>
            <a:r>
              <a:rPr lang="es-VE" sz="1200" dirty="0">
                <a:solidFill>
                  <a:schemeClr val="bg2">
                    <a:lumMod val="25000"/>
                  </a:schemeClr>
                </a:solidFill>
              </a:rPr>
              <a:t> 1970s </a:t>
            </a:r>
            <a:r>
              <a:rPr lang="es-VE" sz="1200" dirty="0" err="1">
                <a:solidFill>
                  <a:schemeClr val="bg2">
                    <a:lumMod val="25000"/>
                  </a:schemeClr>
                </a:solidFill>
              </a:rPr>
              <a:t>on</a:t>
            </a:r>
            <a:r>
              <a:rPr lang="es-VE" sz="12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200" dirty="0" err="1">
                <a:solidFill>
                  <a:schemeClr val="bg2">
                    <a:lumMod val="25000"/>
                  </a:schemeClr>
                </a:solidFill>
              </a:rPr>
              <a:t>how</a:t>
            </a:r>
            <a:r>
              <a:rPr lang="es-VE" sz="12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200" dirty="0" err="1">
                <a:solidFill>
                  <a:schemeClr val="bg2">
                    <a:lumMod val="25000"/>
                  </a:schemeClr>
                </a:solidFill>
              </a:rPr>
              <a:t>vision</a:t>
            </a:r>
            <a:r>
              <a:rPr lang="es-VE" sz="12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200" dirty="0" err="1">
                <a:solidFill>
                  <a:schemeClr val="bg2">
                    <a:lumMod val="25000"/>
                  </a:schemeClr>
                </a:solidFill>
              </a:rPr>
              <a:t>is</a:t>
            </a:r>
            <a:r>
              <a:rPr lang="es-VE" sz="12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200" dirty="0" err="1">
                <a:solidFill>
                  <a:schemeClr val="bg2">
                    <a:lumMod val="25000"/>
                  </a:schemeClr>
                </a:solidFill>
              </a:rPr>
              <a:t>processed</a:t>
            </a:r>
            <a:r>
              <a:rPr lang="es-VE" sz="12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200" dirty="0" err="1">
                <a:solidFill>
                  <a:schemeClr val="bg2">
                    <a:lumMod val="25000"/>
                  </a:schemeClr>
                </a:solidFill>
              </a:rPr>
              <a:t>computationally</a:t>
            </a:r>
            <a:r>
              <a:rPr lang="es-VE" sz="12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200" dirty="0" err="1">
                <a:solidFill>
                  <a:schemeClr val="bg2">
                    <a:lumMod val="25000"/>
                  </a:schemeClr>
                </a:solidFill>
              </a:rPr>
              <a:t>transformed</a:t>
            </a:r>
            <a:r>
              <a:rPr lang="es-VE" sz="12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200" dirty="0" err="1">
                <a:solidFill>
                  <a:schemeClr val="bg2">
                    <a:lumMod val="25000"/>
                  </a:schemeClr>
                </a:solidFill>
              </a:rPr>
              <a:t>the</a:t>
            </a:r>
            <a:r>
              <a:rPr lang="es-VE" sz="12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200" dirty="0" err="1">
                <a:solidFill>
                  <a:schemeClr val="bg2">
                    <a:lumMod val="25000"/>
                  </a:schemeClr>
                </a:solidFill>
              </a:rPr>
              <a:t>field</a:t>
            </a:r>
            <a:r>
              <a:rPr lang="es-VE" sz="1200" dirty="0">
                <a:solidFill>
                  <a:schemeClr val="bg2">
                    <a:lumMod val="25000"/>
                  </a:schemeClr>
                </a:solidFill>
              </a:rPr>
              <a:t> of </a:t>
            </a:r>
            <a:r>
              <a:rPr lang="es-VE" sz="1200" dirty="0" err="1">
                <a:solidFill>
                  <a:schemeClr val="bg2">
                    <a:lumMod val="25000"/>
                  </a:schemeClr>
                </a:solidFill>
              </a:rPr>
              <a:t>computer</a:t>
            </a:r>
            <a:r>
              <a:rPr lang="es-VE" sz="12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200" dirty="0" err="1">
                <a:solidFill>
                  <a:schemeClr val="bg2">
                    <a:lumMod val="25000"/>
                  </a:schemeClr>
                </a:solidFill>
              </a:rPr>
              <a:t>vision</a:t>
            </a:r>
            <a:r>
              <a:rPr lang="es-VE" sz="1200" dirty="0">
                <a:solidFill>
                  <a:schemeClr val="bg2">
                    <a:lumMod val="25000"/>
                  </a:schemeClr>
                </a:solidFill>
              </a:rPr>
              <a:t> and has </a:t>
            </a:r>
            <a:r>
              <a:rPr lang="es-VE" sz="1200" dirty="0" err="1">
                <a:solidFill>
                  <a:schemeClr val="bg2">
                    <a:lumMod val="25000"/>
                  </a:schemeClr>
                </a:solidFill>
              </a:rPr>
              <a:t>had</a:t>
            </a:r>
            <a:r>
              <a:rPr lang="es-VE" sz="12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200" dirty="0" err="1">
                <a:solidFill>
                  <a:schemeClr val="bg2">
                    <a:lumMod val="25000"/>
                  </a:schemeClr>
                </a:solidFill>
              </a:rPr>
              <a:t>lasting</a:t>
            </a:r>
            <a:r>
              <a:rPr lang="es-VE" sz="12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200" dirty="0" err="1">
                <a:solidFill>
                  <a:schemeClr val="bg2">
                    <a:lumMod val="25000"/>
                  </a:schemeClr>
                </a:solidFill>
              </a:rPr>
              <a:t>influence</a:t>
            </a:r>
            <a:endParaRPr lang="en-US" sz="1200" dirty="0">
              <a:solidFill>
                <a:schemeClr val="bg2">
                  <a:lumMod val="25000"/>
                </a:schemeClr>
              </a:solidFill>
              <a:cs typeface="Segoe UI Light" panose="020B0502040204020203" pitchFamily="34" charset="0"/>
            </a:endParaRPr>
          </a:p>
        </p:txBody>
      </p:sp>
      <p:pic>
        <p:nvPicPr>
          <p:cNvPr id="6146" name="Picture 2" descr="David Marr to host RN Late Night Live, replacing Phillip Adams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80" r="13025"/>
          <a:stretch/>
        </p:blipFill>
        <p:spPr bwMode="auto">
          <a:xfrm>
            <a:off x="1933441" y="2317809"/>
            <a:ext cx="1568642" cy="1624724"/>
          </a:xfrm>
          <a:prstGeom prst="ellipse">
            <a:avLst/>
          </a:prstGeom>
          <a:ln w="63500" cap="rnd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Title 11">
            <a:extLst>
              <a:ext uri="{FF2B5EF4-FFF2-40B4-BE49-F238E27FC236}">
                <a16:creationId xmlns:a16="http://schemas.microsoft.com/office/drawing/2014/main" id="{13BCB567-D330-8FD1-1DCF-CC7DC13B6EB4}"/>
              </a:ext>
            </a:extLst>
          </p:cNvPr>
          <p:cNvSpPr txBox="1">
            <a:spLocks/>
          </p:cNvSpPr>
          <p:nvPr/>
        </p:nvSpPr>
        <p:spPr>
          <a:xfrm>
            <a:off x="3537531" y="753385"/>
            <a:ext cx="5101753" cy="801005"/>
          </a:xfrm>
          <a:prstGeom prst="rect">
            <a:avLst/>
          </a:prstGeom>
        </p:spPr>
        <p:txBody>
          <a:bodyPr vert="horz" wrap="square" lIns="91416" tIns="45708" rIns="91416" bIns="45708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>
                <a:solidFill>
                  <a:schemeClr val="bg1"/>
                </a:solidFill>
                <a:latin typeface="+mn-lt"/>
                <a:ea typeface="Roboto" panose="02000000000000000000" pitchFamily="2" charset="0"/>
                <a:cs typeface="Poppins" panose="00000500000000000000" pitchFamily="50" charset="0"/>
              </a:rPr>
              <a:t>INFLUENTIAL FIGURES</a:t>
            </a:r>
          </a:p>
          <a:p>
            <a:r>
              <a:rPr lang="en-US" sz="2800" dirty="0">
                <a:solidFill>
                  <a:schemeClr val="bg1"/>
                </a:solidFill>
                <a:latin typeface="+mn-lt"/>
                <a:ea typeface="Roboto" panose="02000000000000000000" pitchFamily="2" charset="0"/>
                <a:cs typeface="Poppins" panose="00000500000000000000" pitchFamily="50" charset="0"/>
              </a:rPr>
              <a:t>(1970s – 1980s)</a:t>
            </a:r>
          </a:p>
        </p:txBody>
      </p:sp>
      <p:sp>
        <p:nvSpPr>
          <p:cNvPr id="49" name="Title 11">
            <a:extLst>
              <a:ext uri="{FF2B5EF4-FFF2-40B4-BE49-F238E27FC236}">
                <a16:creationId xmlns:a16="http://schemas.microsoft.com/office/drawing/2014/main" id="{13BCB567-D330-8FD1-1DCF-CC7DC13B6EB4}"/>
              </a:ext>
            </a:extLst>
          </p:cNvPr>
          <p:cNvSpPr txBox="1">
            <a:spLocks/>
          </p:cNvSpPr>
          <p:nvPr/>
        </p:nvSpPr>
        <p:spPr>
          <a:xfrm>
            <a:off x="9530167" y="279282"/>
            <a:ext cx="2395520" cy="220940"/>
          </a:xfrm>
          <a:prstGeom prst="rect">
            <a:avLst/>
          </a:prstGeom>
        </p:spPr>
        <p:txBody>
          <a:bodyPr vert="horz" wrap="square" lIns="91416" tIns="45708" rIns="91416" bIns="45708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800" dirty="0">
                <a:solidFill>
                  <a:schemeClr val="bg1"/>
                </a:solidFill>
                <a:latin typeface="+mn-lt"/>
                <a:ea typeface="Roboto" panose="02000000000000000000" pitchFamily="2" charset="0"/>
                <a:cs typeface="Poppins" panose="00000500000000000000" pitchFamily="50" charset="0"/>
              </a:rPr>
              <a:t>Influential Figures</a:t>
            </a:r>
          </a:p>
        </p:txBody>
      </p:sp>
      <p:sp>
        <p:nvSpPr>
          <p:cNvPr id="50" name="TextBox 32">
            <a:extLst>
              <a:ext uri="{FF2B5EF4-FFF2-40B4-BE49-F238E27FC236}">
                <a16:creationId xmlns:a16="http://schemas.microsoft.com/office/drawing/2014/main" id="{ECF5ADFF-1049-1A7F-80FD-5BBB0B59DDC5}"/>
              </a:ext>
            </a:extLst>
          </p:cNvPr>
          <p:cNvSpPr txBox="1"/>
          <p:nvPr/>
        </p:nvSpPr>
        <p:spPr>
          <a:xfrm>
            <a:off x="8616986" y="1586686"/>
            <a:ext cx="1342166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cs typeface="Poppins" panose="00000500000000000000" pitchFamily="50" charset="0"/>
              </a:rPr>
              <a:t>John S. Lim</a:t>
            </a:r>
          </a:p>
        </p:txBody>
      </p:sp>
      <p:grpSp>
        <p:nvGrpSpPr>
          <p:cNvPr id="52" name="Group 34">
            <a:extLst>
              <a:ext uri="{FF2B5EF4-FFF2-40B4-BE49-F238E27FC236}">
                <a16:creationId xmlns:a16="http://schemas.microsoft.com/office/drawing/2014/main" id="{372322A4-1177-0B0B-12BC-5A95C59F478F}"/>
              </a:ext>
            </a:extLst>
          </p:cNvPr>
          <p:cNvGrpSpPr/>
          <p:nvPr/>
        </p:nvGrpSpPr>
        <p:grpSpPr>
          <a:xfrm>
            <a:off x="342905" y="214455"/>
            <a:ext cx="1832368" cy="461665"/>
            <a:chOff x="342905" y="6473150"/>
            <a:chExt cx="1832368" cy="461665"/>
          </a:xfrm>
        </p:grpSpPr>
        <p:sp>
          <p:nvSpPr>
            <p:cNvPr id="53" name="Rectangle: Rounded Corners 35">
              <a:extLst>
                <a:ext uri="{FF2B5EF4-FFF2-40B4-BE49-F238E27FC236}">
                  <a16:creationId xmlns:a16="http://schemas.microsoft.com/office/drawing/2014/main" id="{D622E8C9-5F37-5C65-ABFF-591BF8A7E798}"/>
                </a:ext>
              </a:extLst>
            </p:cNvPr>
            <p:cNvSpPr/>
            <p:nvPr/>
          </p:nvSpPr>
          <p:spPr>
            <a:xfrm>
              <a:off x="359247" y="6484041"/>
              <a:ext cx="1816026" cy="317500"/>
            </a:xfrm>
            <a:prstGeom prst="roundRect">
              <a:avLst>
                <a:gd name="adj" fmla="val 50000"/>
              </a:avLst>
            </a:prstGeom>
            <a:solidFill>
              <a:srgbClr val="21AD8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TextBox 36">
              <a:extLst>
                <a:ext uri="{FF2B5EF4-FFF2-40B4-BE49-F238E27FC236}">
                  <a16:creationId xmlns:a16="http://schemas.microsoft.com/office/drawing/2014/main" id="{3D2E3E85-74A1-E68D-1F33-5053C9948E14}"/>
                </a:ext>
              </a:extLst>
            </p:cNvPr>
            <p:cNvSpPr txBox="1"/>
            <p:nvPr/>
          </p:nvSpPr>
          <p:spPr>
            <a:xfrm>
              <a:off x="342905" y="6473150"/>
              <a:ext cx="132397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800" dirty="0">
                  <a:solidFill>
                    <a:schemeClr val="bg1"/>
                  </a:solidFill>
                  <a:ea typeface="Open Sans" panose="020B0606030504020204" pitchFamily="34" charset="0"/>
                  <a:cs typeface="Poppins" panose="00000500000000000000" pitchFamily="50" charset="0"/>
                </a:rPr>
                <a:t>The </a:t>
              </a:r>
              <a:r>
                <a:rPr lang="en-US" sz="800" b="1" dirty="0">
                  <a:solidFill>
                    <a:schemeClr val="bg1"/>
                  </a:solidFill>
                  <a:ea typeface="Open Sans" panose="020B0606030504020204" pitchFamily="34" charset="0"/>
                  <a:cs typeface="Poppins" panose="00000500000000000000" pitchFamily="50" charset="0"/>
                </a:rPr>
                <a:t>Evolution of Computer Vision </a:t>
              </a:r>
              <a:r>
                <a:rPr lang="en-US" sz="700" dirty="0">
                  <a:solidFill>
                    <a:schemeClr val="bg1"/>
                  </a:solidFill>
                  <a:ea typeface="Open Sans" panose="020B0606030504020204" pitchFamily="34" charset="0"/>
                  <a:cs typeface="Poppins" panose="00000500000000000000" pitchFamily="50" charset="0"/>
                </a:rPr>
                <a:t>1970s – 1980s</a:t>
              </a:r>
            </a:p>
            <a:p>
              <a:pPr algn="r"/>
              <a:endParaRPr lang="en-US" sz="800" b="1" dirty="0">
                <a:solidFill>
                  <a:schemeClr val="bg1"/>
                </a:solidFill>
                <a:ea typeface="Open Sans" panose="020B0606030504020204" pitchFamily="34" charset="0"/>
                <a:cs typeface="Poppins" panose="00000500000000000000" pitchFamily="50" charset="0"/>
              </a:endParaRPr>
            </a:p>
          </p:txBody>
        </p:sp>
        <p:sp>
          <p:nvSpPr>
            <p:cNvPr id="55" name="Rectangle: Rounded Corners 37">
              <a:extLst>
                <a:ext uri="{FF2B5EF4-FFF2-40B4-BE49-F238E27FC236}">
                  <a16:creationId xmlns:a16="http://schemas.microsoft.com/office/drawing/2014/main" id="{72CEFE7C-EA20-BEBE-CB39-7C7F094B2DD5}"/>
                </a:ext>
              </a:extLst>
            </p:cNvPr>
            <p:cNvSpPr/>
            <p:nvPr/>
          </p:nvSpPr>
          <p:spPr>
            <a:xfrm>
              <a:off x="1653778" y="6484041"/>
              <a:ext cx="521495" cy="31750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99000">
                  <a:srgbClr val="21AD84"/>
                </a:gs>
                <a:gs pos="52000">
                  <a:srgbClr val="7030A0">
                    <a:alpha val="79000"/>
                  </a:srgbClr>
                </a:gs>
                <a:gs pos="0">
                  <a:srgbClr val="DD02F8">
                    <a:alpha val="68000"/>
                  </a:srgbClr>
                </a:gs>
              </a:gsLst>
              <a:lin ang="10800000" scaled="1"/>
              <a:tileRect/>
            </a:gra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DBD1CDE-A504-0B0E-D224-28C0C4C683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54362" y="207190"/>
            <a:ext cx="712509" cy="365125"/>
          </a:xfrm>
        </p:spPr>
        <p:txBody>
          <a:bodyPr/>
          <a:lstStyle/>
          <a:p>
            <a:fld id="{131BCB46-63A1-4E91-AD39-9DC1D6579614}" type="slidenum">
              <a:rPr lang="en-US" sz="1600" b="1" smtClean="0">
                <a:latin typeface="+mn-lt"/>
              </a:rPr>
              <a:t>7</a:t>
            </a:fld>
            <a:endParaRPr lang="en-US" sz="1600" b="1" dirty="0">
              <a:latin typeface="+mn-lt"/>
            </a:endParaRPr>
          </a:p>
        </p:txBody>
      </p:sp>
      <p:pic>
        <p:nvPicPr>
          <p:cNvPr id="6148" name="Picture 4" descr="Asia-Pacific Dialogue Platform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58" t="2813" r="5178" b="20221"/>
          <a:stretch/>
        </p:blipFill>
        <p:spPr bwMode="auto">
          <a:xfrm>
            <a:off x="8454032" y="2296134"/>
            <a:ext cx="1668073" cy="1668073"/>
          </a:xfrm>
          <a:prstGeom prst="ellipse">
            <a:avLst/>
          </a:prstGeom>
          <a:ln w="63500" cap="rnd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TextBox 31">
            <a:extLst>
              <a:ext uri="{FF2B5EF4-FFF2-40B4-BE49-F238E27FC236}">
                <a16:creationId xmlns:a16="http://schemas.microsoft.com/office/drawing/2014/main" id="{950C292A-E5BB-1928-CCA6-C0ECD8FDDCE9}"/>
              </a:ext>
            </a:extLst>
          </p:cNvPr>
          <p:cNvSpPr txBox="1"/>
          <p:nvPr/>
        </p:nvSpPr>
        <p:spPr>
          <a:xfrm>
            <a:off x="8572325" y="4684528"/>
            <a:ext cx="1479929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cs typeface="Poppins" panose="00000500000000000000" pitchFamily="50" charset="0"/>
              </a:rPr>
              <a:t>(Late 1980s)</a:t>
            </a:r>
          </a:p>
        </p:txBody>
      </p:sp>
      <p:sp>
        <p:nvSpPr>
          <p:cNvPr id="57" name="Rectangle 43">
            <a:extLst>
              <a:ext uri="{FF2B5EF4-FFF2-40B4-BE49-F238E27FC236}">
                <a16:creationId xmlns:a16="http://schemas.microsoft.com/office/drawing/2014/main" id="{17E353EF-06BE-DD2A-1E52-968A11403F76}"/>
              </a:ext>
            </a:extLst>
          </p:cNvPr>
          <p:cNvSpPr/>
          <p:nvPr/>
        </p:nvSpPr>
        <p:spPr>
          <a:xfrm>
            <a:off x="8302857" y="4929057"/>
            <a:ext cx="201886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VE" sz="1200" dirty="0">
                <a:solidFill>
                  <a:schemeClr val="bg2">
                    <a:lumMod val="25000"/>
                  </a:schemeClr>
                </a:solidFill>
              </a:rPr>
              <a:t>John S. </a:t>
            </a:r>
            <a:r>
              <a:rPr lang="es-VE" sz="1200" dirty="0" err="1">
                <a:solidFill>
                  <a:schemeClr val="bg2">
                    <a:lumMod val="25000"/>
                  </a:schemeClr>
                </a:solidFill>
              </a:rPr>
              <a:t>Lim</a:t>
            </a:r>
            <a:r>
              <a:rPr lang="es-VE" sz="12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200" dirty="0" err="1">
                <a:solidFill>
                  <a:schemeClr val="bg2">
                    <a:lumMod val="25000"/>
                  </a:schemeClr>
                </a:solidFill>
              </a:rPr>
              <a:t>developed</a:t>
            </a:r>
            <a:r>
              <a:rPr lang="es-VE" sz="12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200" dirty="0" err="1">
                <a:solidFill>
                  <a:schemeClr val="bg2">
                    <a:lumMod val="25000"/>
                  </a:schemeClr>
                </a:solidFill>
              </a:rPr>
              <a:t>algorithms</a:t>
            </a:r>
            <a:r>
              <a:rPr lang="es-VE" sz="12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200" dirty="0" err="1">
                <a:solidFill>
                  <a:schemeClr val="bg2">
                    <a:lumMod val="25000"/>
                  </a:schemeClr>
                </a:solidFill>
              </a:rPr>
              <a:t>that</a:t>
            </a:r>
            <a:r>
              <a:rPr lang="es-VE" sz="12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200" dirty="0" err="1">
                <a:solidFill>
                  <a:schemeClr val="bg2">
                    <a:lumMod val="25000"/>
                  </a:schemeClr>
                </a:solidFill>
              </a:rPr>
              <a:t>improved</a:t>
            </a:r>
            <a:r>
              <a:rPr lang="es-VE" sz="1200" dirty="0">
                <a:solidFill>
                  <a:schemeClr val="bg2">
                    <a:lumMod val="25000"/>
                  </a:schemeClr>
                </a:solidFill>
              </a:rPr>
              <a:t> 3D </a:t>
            </a:r>
            <a:r>
              <a:rPr lang="es-VE" sz="1200" dirty="0" err="1">
                <a:solidFill>
                  <a:schemeClr val="bg2">
                    <a:lumMod val="25000"/>
                  </a:schemeClr>
                </a:solidFill>
              </a:rPr>
              <a:t>object</a:t>
            </a:r>
            <a:r>
              <a:rPr lang="es-VE" sz="12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200" dirty="0" err="1">
                <a:solidFill>
                  <a:schemeClr val="bg2">
                    <a:lumMod val="25000"/>
                  </a:schemeClr>
                </a:solidFill>
              </a:rPr>
              <a:t>recognition</a:t>
            </a:r>
            <a:r>
              <a:rPr lang="es-VE" sz="1200" dirty="0">
                <a:solidFill>
                  <a:schemeClr val="bg2">
                    <a:lumMod val="25000"/>
                  </a:schemeClr>
                </a:solidFill>
              </a:rPr>
              <a:t>, </a:t>
            </a:r>
            <a:r>
              <a:rPr lang="es-VE" sz="1200" dirty="0" err="1">
                <a:solidFill>
                  <a:schemeClr val="bg2">
                    <a:lumMod val="25000"/>
                  </a:schemeClr>
                </a:solidFill>
              </a:rPr>
              <a:t>making</a:t>
            </a:r>
            <a:r>
              <a:rPr lang="es-VE" sz="12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200" dirty="0" err="1">
                <a:solidFill>
                  <a:schemeClr val="bg2">
                    <a:lumMod val="25000"/>
                  </a:schemeClr>
                </a:solidFill>
              </a:rPr>
              <a:t>computer</a:t>
            </a:r>
            <a:r>
              <a:rPr lang="es-VE" sz="12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200" dirty="0" err="1">
                <a:solidFill>
                  <a:schemeClr val="bg2">
                    <a:lumMod val="25000"/>
                  </a:schemeClr>
                </a:solidFill>
              </a:rPr>
              <a:t>vision</a:t>
            </a:r>
            <a:r>
              <a:rPr lang="es-VE" sz="12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200" dirty="0" err="1">
                <a:solidFill>
                  <a:schemeClr val="bg2">
                    <a:lumMod val="25000"/>
                  </a:schemeClr>
                </a:solidFill>
              </a:rPr>
              <a:t>systems</a:t>
            </a:r>
            <a:r>
              <a:rPr lang="es-VE" sz="1200" dirty="0">
                <a:solidFill>
                  <a:schemeClr val="bg2">
                    <a:lumMod val="25000"/>
                  </a:schemeClr>
                </a:solidFill>
              </a:rPr>
              <a:t> more </a:t>
            </a:r>
            <a:r>
              <a:rPr lang="es-VE" sz="1200" dirty="0" err="1">
                <a:solidFill>
                  <a:schemeClr val="bg2">
                    <a:lumMod val="25000"/>
                  </a:schemeClr>
                </a:solidFill>
              </a:rPr>
              <a:t>accurate</a:t>
            </a:r>
            <a:r>
              <a:rPr lang="es-VE" sz="1200" dirty="0">
                <a:solidFill>
                  <a:schemeClr val="bg2">
                    <a:lumMod val="25000"/>
                  </a:schemeClr>
                </a:solidFill>
              </a:rPr>
              <a:t> in industrial and real-</a:t>
            </a:r>
            <a:r>
              <a:rPr lang="es-VE" sz="1200" dirty="0" err="1">
                <a:solidFill>
                  <a:schemeClr val="bg2">
                    <a:lumMod val="25000"/>
                  </a:schemeClr>
                </a:solidFill>
              </a:rPr>
              <a:t>world</a:t>
            </a:r>
            <a:r>
              <a:rPr lang="es-VE" sz="12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200" dirty="0" err="1">
                <a:solidFill>
                  <a:schemeClr val="bg2">
                    <a:lumMod val="25000"/>
                  </a:schemeClr>
                </a:solidFill>
              </a:rPr>
              <a:t>applications</a:t>
            </a:r>
            <a:r>
              <a:rPr lang="es-VE" sz="1200" dirty="0">
                <a:solidFill>
                  <a:schemeClr val="bg2">
                    <a:lumMod val="25000"/>
                  </a:schemeClr>
                </a:solidFill>
              </a:rPr>
              <a:t>.</a:t>
            </a:r>
            <a:endParaRPr lang="en-US" sz="1200" dirty="0">
              <a:solidFill>
                <a:schemeClr val="bg2">
                  <a:lumMod val="25000"/>
                </a:schemeClr>
              </a:solidFill>
              <a:cs typeface="Segoe UI Light" panose="020B0502040204020203" pitchFamily="34" charset="0"/>
            </a:endParaRPr>
          </a:p>
        </p:txBody>
      </p:sp>
      <p:pic>
        <p:nvPicPr>
          <p:cNvPr id="6150" name="Picture 6" descr="SCAPE 3D Object Recognition | Scape Technologies - Imagine. Create.  Automate.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561" t="-6257" r="-3438" b="-2742"/>
          <a:stretch/>
        </p:blipFill>
        <p:spPr bwMode="auto">
          <a:xfrm>
            <a:off x="6366672" y="2439826"/>
            <a:ext cx="1493473" cy="1493473"/>
          </a:xfrm>
          <a:prstGeom prst="ellipse">
            <a:avLst/>
          </a:prstGeom>
          <a:ln w="63500" cap="rnd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2" name="Grupo 21"/>
          <p:cNvGrpSpPr/>
          <p:nvPr/>
        </p:nvGrpSpPr>
        <p:grpSpPr>
          <a:xfrm>
            <a:off x="4078488" y="2269797"/>
            <a:ext cx="1601611" cy="1694411"/>
            <a:chOff x="4027116" y="2239246"/>
            <a:chExt cx="1703198" cy="1801884"/>
          </a:xfrm>
        </p:grpSpPr>
        <p:pic>
          <p:nvPicPr>
            <p:cNvPr id="6152" name="Picture 8" descr="The Neuroscience of Vision III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3465"/>
            <a:stretch/>
          </p:blipFill>
          <p:spPr bwMode="auto">
            <a:xfrm>
              <a:off x="4049238" y="2239246"/>
              <a:ext cx="1681076" cy="10697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0" name="Picture 8" descr="The Neuroscience of Vision III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6114"/>
            <a:stretch/>
          </p:blipFill>
          <p:spPr bwMode="auto">
            <a:xfrm>
              <a:off x="4027116" y="3105174"/>
              <a:ext cx="1703197" cy="9359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849752321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08167B-C89A-D47F-64FC-45503E9568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372322A4-1177-0B0B-12BC-5A95C59F478F}"/>
              </a:ext>
            </a:extLst>
          </p:cNvPr>
          <p:cNvGrpSpPr/>
          <p:nvPr/>
        </p:nvGrpSpPr>
        <p:grpSpPr>
          <a:xfrm>
            <a:off x="339769" y="217506"/>
            <a:ext cx="1832368" cy="461665"/>
            <a:chOff x="342905" y="6473150"/>
            <a:chExt cx="1832368" cy="461665"/>
          </a:xfrm>
        </p:grpSpPr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D622E8C9-5F37-5C65-ABFF-591BF8A7E798}"/>
                </a:ext>
              </a:extLst>
            </p:cNvPr>
            <p:cNvSpPr/>
            <p:nvPr/>
          </p:nvSpPr>
          <p:spPr>
            <a:xfrm>
              <a:off x="359247" y="6484041"/>
              <a:ext cx="1816026" cy="317500"/>
            </a:xfrm>
            <a:prstGeom prst="roundRect">
              <a:avLst>
                <a:gd name="adj" fmla="val 50000"/>
              </a:avLst>
            </a:prstGeom>
            <a:solidFill>
              <a:srgbClr val="21AD8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3D2E3E85-74A1-E68D-1F33-5053C9948E14}"/>
                </a:ext>
              </a:extLst>
            </p:cNvPr>
            <p:cNvSpPr txBox="1"/>
            <p:nvPr/>
          </p:nvSpPr>
          <p:spPr>
            <a:xfrm>
              <a:off x="342905" y="6473150"/>
              <a:ext cx="132397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800" dirty="0">
                  <a:solidFill>
                    <a:schemeClr val="bg1"/>
                  </a:solidFill>
                  <a:ea typeface="Open Sans" panose="020B0606030504020204" pitchFamily="34" charset="0"/>
                  <a:cs typeface="Poppins" panose="00000500000000000000" pitchFamily="50" charset="0"/>
                </a:rPr>
                <a:t>The </a:t>
              </a:r>
              <a:r>
                <a:rPr lang="en-US" sz="800" b="1" dirty="0">
                  <a:solidFill>
                    <a:schemeClr val="bg1"/>
                  </a:solidFill>
                  <a:ea typeface="Open Sans" panose="020B0606030504020204" pitchFamily="34" charset="0"/>
                  <a:cs typeface="Poppins" panose="00000500000000000000" pitchFamily="50" charset="0"/>
                </a:rPr>
                <a:t>Evolution of Computer Vision </a:t>
              </a:r>
              <a:r>
                <a:rPr lang="en-US" sz="700" dirty="0">
                  <a:solidFill>
                    <a:schemeClr val="bg1"/>
                  </a:solidFill>
                  <a:ea typeface="Open Sans" panose="020B0606030504020204" pitchFamily="34" charset="0"/>
                  <a:cs typeface="Poppins" panose="00000500000000000000" pitchFamily="50" charset="0"/>
                </a:rPr>
                <a:t>1970s – 1980s</a:t>
              </a:r>
            </a:p>
            <a:p>
              <a:pPr algn="r"/>
              <a:endParaRPr lang="en-US" sz="800" b="1" dirty="0">
                <a:solidFill>
                  <a:schemeClr val="bg1"/>
                </a:solidFill>
                <a:ea typeface="Open Sans" panose="020B0606030504020204" pitchFamily="34" charset="0"/>
                <a:cs typeface="Poppins" panose="00000500000000000000" pitchFamily="50" charset="0"/>
              </a:endParaRPr>
            </a:p>
          </p:txBody>
        </p: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72CEFE7C-EA20-BEBE-CB39-7C7F094B2DD5}"/>
                </a:ext>
              </a:extLst>
            </p:cNvPr>
            <p:cNvSpPr/>
            <p:nvPr/>
          </p:nvSpPr>
          <p:spPr>
            <a:xfrm>
              <a:off x="1653778" y="6484041"/>
              <a:ext cx="521495" cy="31750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99000">
                  <a:srgbClr val="21AD84"/>
                </a:gs>
                <a:gs pos="52000">
                  <a:srgbClr val="7030A0">
                    <a:alpha val="79000"/>
                  </a:srgbClr>
                </a:gs>
                <a:gs pos="0">
                  <a:srgbClr val="DD02F8">
                    <a:alpha val="68000"/>
                  </a:srgbClr>
                </a:gs>
              </a:gsLst>
              <a:lin ang="10800000" scaled="1"/>
              <a:tileRect/>
            </a:gra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19" name="Marcador de posición de imagen 18"/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63" r="48335"/>
          <a:stretch/>
        </p:blipFill>
        <p:spPr>
          <a:solidFill>
            <a:schemeClr val="bg1">
              <a:lumMod val="85000"/>
            </a:schemeClr>
          </a:solidFill>
        </p:spPr>
      </p:pic>
      <p:pic>
        <p:nvPicPr>
          <p:cNvPr id="11" name="Marcador de posición de imagen 10"/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44" r="13844"/>
          <a:stretch>
            <a:fillRect/>
          </a:stretch>
        </p:blipFill>
        <p:spPr>
          <a:solidFill>
            <a:schemeClr val="bg1">
              <a:lumMod val="85000"/>
            </a:schemeClr>
          </a:solidFill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9620C60-7D39-3E8B-07A2-6708A02BB64E}"/>
              </a:ext>
            </a:extLst>
          </p:cNvPr>
          <p:cNvCxnSpPr>
            <a:cxnSpLocks/>
          </p:cNvCxnSpPr>
          <p:nvPr/>
        </p:nvCxnSpPr>
        <p:spPr>
          <a:xfrm>
            <a:off x="2266871" y="393627"/>
            <a:ext cx="797724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024DAD05-120F-FE94-924F-EB8B746365CF}"/>
              </a:ext>
            </a:extLst>
          </p:cNvPr>
          <p:cNvSpPr/>
          <p:nvPr/>
        </p:nvSpPr>
        <p:spPr>
          <a:xfrm>
            <a:off x="2528587" y="2222219"/>
            <a:ext cx="2768476" cy="3302898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584200" dist="368300" dir="2700000" algn="tl" rotWithShape="0">
              <a:prstClr val="black">
                <a:alpha val="1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ADC20BA7-BC51-5D49-7867-144334945D63}"/>
              </a:ext>
            </a:extLst>
          </p:cNvPr>
          <p:cNvSpPr/>
          <p:nvPr/>
        </p:nvSpPr>
        <p:spPr>
          <a:xfrm rot="16200000">
            <a:off x="3856539" y="4970220"/>
            <a:ext cx="101364" cy="1008428"/>
          </a:xfrm>
          <a:prstGeom prst="roundRect">
            <a:avLst>
              <a:gd name="adj" fmla="val 50000"/>
            </a:avLst>
          </a:prstGeom>
          <a:solidFill>
            <a:srgbClr val="21AD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E9F9BBF-E9C2-C614-4B7F-E0D3CE88B94D}"/>
              </a:ext>
            </a:extLst>
          </p:cNvPr>
          <p:cNvSpPr txBox="1"/>
          <p:nvPr/>
        </p:nvSpPr>
        <p:spPr>
          <a:xfrm>
            <a:off x="2667206" y="3386896"/>
            <a:ext cx="2440044" cy="28109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cs typeface="Poppins Medium" panose="00000600000000000000" pitchFamily="2" charset="0"/>
              </a:rPr>
              <a:t>Medical Imaging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7616A3A4-79D2-7257-D10C-0FDB582142A5}"/>
              </a:ext>
            </a:extLst>
          </p:cNvPr>
          <p:cNvSpPr/>
          <p:nvPr/>
        </p:nvSpPr>
        <p:spPr>
          <a:xfrm>
            <a:off x="2728734" y="3764228"/>
            <a:ext cx="2408752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VE" sz="1400" dirty="0"/>
              <a:t>In </a:t>
            </a:r>
            <a:r>
              <a:rPr lang="es-VE" sz="1400" dirty="0" err="1"/>
              <a:t>the</a:t>
            </a:r>
            <a:r>
              <a:rPr lang="es-VE" sz="1400" dirty="0"/>
              <a:t> 1980s, </a:t>
            </a:r>
            <a:r>
              <a:rPr lang="es-VE" sz="1400" dirty="0" err="1"/>
              <a:t>computer</a:t>
            </a:r>
            <a:r>
              <a:rPr lang="es-VE" sz="1400" dirty="0"/>
              <a:t> </a:t>
            </a:r>
            <a:r>
              <a:rPr lang="es-VE" sz="1400" dirty="0" err="1"/>
              <a:t>vision</a:t>
            </a:r>
            <a:r>
              <a:rPr lang="es-VE" sz="1400" dirty="0"/>
              <a:t> </a:t>
            </a:r>
            <a:r>
              <a:rPr lang="es-VE" sz="1400" dirty="0" err="1"/>
              <a:t>enabled</a:t>
            </a:r>
            <a:r>
              <a:rPr lang="es-VE" sz="1400" dirty="0"/>
              <a:t> </a:t>
            </a:r>
            <a:r>
              <a:rPr lang="es-VE" sz="1400" dirty="0" err="1"/>
              <a:t>advancements</a:t>
            </a:r>
            <a:r>
              <a:rPr lang="es-VE" sz="1400" dirty="0"/>
              <a:t> in medical </a:t>
            </a:r>
            <a:r>
              <a:rPr lang="es-VE" sz="1400" dirty="0" err="1"/>
              <a:t>imaging</a:t>
            </a:r>
            <a:r>
              <a:rPr lang="es-VE" sz="1400" dirty="0"/>
              <a:t>, </a:t>
            </a:r>
            <a:r>
              <a:rPr lang="es-VE" sz="1400" dirty="0" err="1"/>
              <a:t>such</a:t>
            </a:r>
            <a:r>
              <a:rPr lang="es-VE" sz="1400" dirty="0"/>
              <a:t> as </a:t>
            </a:r>
            <a:r>
              <a:rPr lang="es-VE" sz="1400" dirty="0" err="1"/>
              <a:t>automated</a:t>
            </a:r>
            <a:r>
              <a:rPr lang="es-VE" sz="1400" dirty="0"/>
              <a:t> tumor </a:t>
            </a:r>
            <a:r>
              <a:rPr lang="es-VE" sz="1400" dirty="0" err="1"/>
              <a:t>detection</a:t>
            </a:r>
            <a:r>
              <a:rPr lang="es-VE" sz="1400" dirty="0"/>
              <a:t> in </a:t>
            </a:r>
            <a:r>
              <a:rPr lang="es-VE" sz="1400" dirty="0" err="1"/>
              <a:t>mammograms</a:t>
            </a:r>
            <a:r>
              <a:rPr lang="es-VE" sz="1400" dirty="0"/>
              <a:t>, </a:t>
            </a:r>
            <a:r>
              <a:rPr lang="es-VE" sz="1400" dirty="0" err="1"/>
              <a:t>which</a:t>
            </a:r>
            <a:r>
              <a:rPr lang="es-VE" sz="1400" dirty="0"/>
              <a:t> </a:t>
            </a:r>
            <a:r>
              <a:rPr lang="es-VE" sz="1400" dirty="0" err="1"/>
              <a:t>revolutionized</a:t>
            </a:r>
            <a:r>
              <a:rPr lang="es-VE" sz="1400" dirty="0"/>
              <a:t> </a:t>
            </a:r>
            <a:r>
              <a:rPr lang="es-VE" sz="1400" dirty="0" err="1"/>
              <a:t>healthcare</a:t>
            </a:r>
            <a:r>
              <a:rPr lang="es-VE" sz="1400" dirty="0"/>
              <a:t> </a:t>
            </a:r>
            <a:r>
              <a:rPr lang="es-VE" sz="1400" dirty="0" err="1"/>
              <a:t>diagnostics</a:t>
            </a:r>
            <a:r>
              <a:rPr lang="es-VE" sz="1400" dirty="0"/>
              <a:t>.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Montserrat Light" panose="00000400000000000000" pitchFamily="2" charset="0"/>
              <a:cs typeface="Segoe UI Light" panose="020B0502040204020203" pitchFamily="34" charset="0"/>
            </a:endParaRPr>
          </a:p>
        </p:txBody>
      </p:sp>
      <p:sp>
        <p:nvSpPr>
          <p:cNvPr id="103" name="Rectangle: Rounded Corners 102">
            <a:extLst>
              <a:ext uri="{FF2B5EF4-FFF2-40B4-BE49-F238E27FC236}">
                <a16:creationId xmlns:a16="http://schemas.microsoft.com/office/drawing/2014/main" id="{C0DA2FE0-3552-61A5-1D32-00CAF6DC4E8A}"/>
              </a:ext>
            </a:extLst>
          </p:cNvPr>
          <p:cNvSpPr/>
          <p:nvPr/>
        </p:nvSpPr>
        <p:spPr>
          <a:xfrm>
            <a:off x="6761691" y="2222219"/>
            <a:ext cx="2768476" cy="3302898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584200" dist="368300" dir="2700000" algn="tl" rotWithShape="0">
              <a:prstClr val="black">
                <a:alpha val="1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F5B11D60-CDFC-BF4E-76EA-032EA09D032B}"/>
              </a:ext>
            </a:extLst>
          </p:cNvPr>
          <p:cNvSpPr/>
          <p:nvPr/>
        </p:nvSpPr>
        <p:spPr>
          <a:xfrm rot="16200000">
            <a:off x="8089643" y="4970220"/>
            <a:ext cx="101364" cy="1008428"/>
          </a:xfrm>
          <a:prstGeom prst="roundRect">
            <a:avLst>
              <a:gd name="adj" fmla="val 50000"/>
            </a:avLst>
          </a:prstGeom>
          <a:solidFill>
            <a:srgbClr val="DD02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17587A-3DC2-4ED5-31C8-EBC5DDA9ED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45988" y="207190"/>
            <a:ext cx="712509" cy="365125"/>
          </a:xfrm>
        </p:spPr>
        <p:txBody>
          <a:bodyPr/>
          <a:lstStyle/>
          <a:p>
            <a:fld id="{131BCB46-63A1-4E91-AD39-9DC1D6579614}" type="slidenum">
              <a:rPr lang="en-US" sz="1600" b="1" smtClean="0">
                <a:latin typeface="+mn-lt"/>
              </a:rPr>
              <a:t>8</a:t>
            </a:fld>
            <a:endParaRPr lang="en-US" sz="1600" b="1" dirty="0">
              <a:latin typeface="+mn-lt"/>
            </a:endParaRPr>
          </a:p>
        </p:txBody>
      </p:sp>
      <p:sp>
        <p:nvSpPr>
          <p:cNvPr id="39" name="Title 11">
            <a:extLst>
              <a:ext uri="{FF2B5EF4-FFF2-40B4-BE49-F238E27FC236}">
                <a16:creationId xmlns:a16="http://schemas.microsoft.com/office/drawing/2014/main" id="{13BCB567-D330-8FD1-1DCF-CC7DC13B6EB4}"/>
              </a:ext>
            </a:extLst>
          </p:cNvPr>
          <p:cNvSpPr txBox="1">
            <a:spLocks/>
          </p:cNvSpPr>
          <p:nvPr/>
        </p:nvSpPr>
        <p:spPr>
          <a:xfrm>
            <a:off x="9530167" y="279282"/>
            <a:ext cx="2395520" cy="220940"/>
          </a:xfrm>
          <a:prstGeom prst="rect">
            <a:avLst/>
          </a:prstGeom>
        </p:spPr>
        <p:txBody>
          <a:bodyPr vert="horz" wrap="square" lIns="91416" tIns="45708" rIns="91416" bIns="45708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800" dirty="0">
                <a:solidFill>
                  <a:schemeClr val="bg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Poppins" panose="00000500000000000000" pitchFamily="50" charset="0"/>
              </a:rPr>
              <a:t>Early </a:t>
            </a:r>
            <a:r>
              <a:rPr lang="en-US" sz="1800" dirty="0" err="1">
                <a:solidFill>
                  <a:schemeClr val="bg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Poppins" panose="00000500000000000000" pitchFamily="50" charset="0"/>
              </a:rPr>
              <a:t>Aplications</a:t>
            </a:r>
            <a:endParaRPr lang="en-US" sz="1800" dirty="0">
              <a:solidFill>
                <a:schemeClr val="bg2">
                  <a:lumMod val="50000"/>
                </a:schemeClr>
              </a:solidFill>
              <a:latin typeface="+mn-lt"/>
              <a:ea typeface="Roboto" panose="02000000000000000000" pitchFamily="2" charset="0"/>
              <a:cs typeface="Poppins" panose="00000500000000000000" pitchFamily="50" charset="0"/>
            </a:endParaRPr>
          </a:p>
        </p:txBody>
      </p:sp>
      <p:sp>
        <p:nvSpPr>
          <p:cNvPr id="41" name="Title 11">
            <a:extLst>
              <a:ext uri="{FF2B5EF4-FFF2-40B4-BE49-F238E27FC236}">
                <a16:creationId xmlns:a16="http://schemas.microsoft.com/office/drawing/2014/main" id="{97C0FB2F-F877-B2F0-BBBD-2BDFE04C5D9D}"/>
              </a:ext>
            </a:extLst>
          </p:cNvPr>
          <p:cNvSpPr txBox="1">
            <a:spLocks/>
          </p:cNvSpPr>
          <p:nvPr/>
        </p:nvSpPr>
        <p:spPr>
          <a:xfrm>
            <a:off x="4407716" y="755714"/>
            <a:ext cx="3695557" cy="1202542"/>
          </a:xfrm>
          <a:prstGeom prst="rect">
            <a:avLst/>
          </a:prstGeom>
        </p:spPr>
        <p:txBody>
          <a:bodyPr vert="horz" wrap="square" lIns="91416" tIns="45708" rIns="91416" bIns="45708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3200" b="1" dirty="0">
                <a:latin typeface="+mn-lt"/>
                <a:ea typeface="Roboto" panose="02000000000000000000" pitchFamily="2" charset="0"/>
                <a:cs typeface="Poppins" panose="00000500000000000000" pitchFamily="50" charset="0"/>
              </a:rPr>
              <a:t>EARLY APLICATIONS </a:t>
            </a:r>
          </a:p>
          <a:p>
            <a:pPr>
              <a:lnSpc>
                <a:spcPts val="3400"/>
              </a:lnSpc>
            </a:pPr>
            <a:r>
              <a:rPr lang="en-US" sz="3200" b="1" dirty="0">
                <a:latin typeface="+mn-lt"/>
                <a:ea typeface="Roboto" panose="02000000000000000000" pitchFamily="2" charset="0"/>
                <a:cs typeface="Poppins" panose="00000500000000000000" pitchFamily="50" charset="0"/>
              </a:rPr>
              <a:t>OF COMPUTER VISION</a:t>
            </a:r>
          </a:p>
        </p:txBody>
      </p:sp>
      <p:grpSp>
        <p:nvGrpSpPr>
          <p:cNvPr id="16" name="Grupo 15"/>
          <p:cNvGrpSpPr/>
          <p:nvPr/>
        </p:nvGrpSpPr>
        <p:grpSpPr>
          <a:xfrm>
            <a:off x="3193869" y="1748648"/>
            <a:ext cx="1456974" cy="1472582"/>
            <a:chOff x="3193869" y="2353132"/>
            <a:chExt cx="1456974" cy="1472582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BC09303B-AC50-3D7F-C536-D48D791571DF}"/>
                </a:ext>
              </a:extLst>
            </p:cNvPr>
            <p:cNvSpPr/>
            <p:nvPr/>
          </p:nvSpPr>
          <p:spPr>
            <a:xfrm>
              <a:off x="3358111" y="2525180"/>
              <a:ext cx="1128488" cy="11284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93700" dist="228600" dir="6840000" algn="t" rotWithShape="0">
                <a:prstClr val="black">
                  <a:alpha val="1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Block Arc 52">
              <a:extLst>
                <a:ext uri="{FF2B5EF4-FFF2-40B4-BE49-F238E27FC236}">
                  <a16:creationId xmlns:a16="http://schemas.microsoft.com/office/drawing/2014/main" id="{49425C00-3D15-4492-7D27-C9379220DD2F}"/>
                </a:ext>
              </a:extLst>
            </p:cNvPr>
            <p:cNvSpPr/>
            <p:nvPr/>
          </p:nvSpPr>
          <p:spPr>
            <a:xfrm rot="10800000">
              <a:off x="3193869" y="2353132"/>
              <a:ext cx="1456974" cy="1472582"/>
            </a:xfrm>
            <a:prstGeom prst="blockArc">
              <a:avLst>
                <a:gd name="adj1" fmla="val 11364458"/>
                <a:gd name="adj2" fmla="val 20606439"/>
                <a:gd name="adj3" fmla="val 2920"/>
              </a:avLst>
            </a:prstGeom>
            <a:solidFill>
              <a:srgbClr val="21AD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198" name="Picture 6" descr="Mamografía - Iconos gratis de asistencia sanitaria y médica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41876" y="2814703"/>
              <a:ext cx="558411" cy="5584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9" name="Rectangle 95">
            <a:extLst>
              <a:ext uri="{FF2B5EF4-FFF2-40B4-BE49-F238E27FC236}">
                <a16:creationId xmlns:a16="http://schemas.microsoft.com/office/drawing/2014/main" id="{7616A3A4-79D2-7257-D10C-0FDB582142A5}"/>
              </a:ext>
            </a:extLst>
          </p:cNvPr>
          <p:cNvSpPr/>
          <p:nvPr/>
        </p:nvSpPr>
        <p:spPr>
          <a:xfrm>
            <a:off x="6943017" y="3932388"/>
            <a:ext cx="240875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VE" sz="1400" dirty="0"/>
              <a:t>Robots in </a:t>
            </a:r>
            <a:r>
              <a:rPr lang="es-VE" sz="1400" dirty="0" err="1"/>
              <a:t>manufacturing</a:t>
            </a:r>
            <a:r>
              <a:rPr lang="es-VE" sz="1400" dirty="0"/>
              <a:t> </a:t>
            </a:r>
            <a:r>
              <a:rPr lang="es-VE" sz="1400" dirty="0" err="1"/>
              <a:t>used</a:t>
            </a:r>
            <a:r>
              <a:rPr lang="es-VE" sz="1400" dirty="0"/>
              <a:t> </a:t>
            </a:r>
            <a:r>
              <a:rPr lang="es-VE" sz="1400" dirty="0" err="1"/>
              <a:t>vision</a:t>
            </a:r>
            <a:r>
              <a:rPr lang="es-VE" sz="1400" dirty="0"/>
              <a:t> </a:t>
            </a:r>
            <a:r>
              <a:rPr lang="es-VE" sz="1400" dirty="0" err="1"/>
              <a:t>systems</a:t>
            </a:r>
            <a:r>
              <a:rPr lang="es-VE" sz="1400" dirty="0"/>
              <a:t> </a:t>
            </a:r>
            <a:r>
              <a:rPr lang="es-VE" sz="1400" dirty="0" err="1"/>
              <a:t>to</a:t>
            </a:r>
            <a:r>
              <a:rPr lang="es-VE" sz="1400" dirty="0"/>
              <a:t> </a:t>
            </a:r>
            <a:r>
              <a:rPr lang="es-VE" sz="1400" dirty="0" err="1"/>
              <a:t>inspect</a:t>
            </a:r>
            <a:r>
              <a:rPr lang="es-VE" sz="1400" dirty="0"/>
              <a:t> </a:t>
            </a:r>
            <a:r>
              <a:rPr lang="es-VE" sz="1400" dirty="0" err="1"/>
              <a:t>parts</a:t>
            </a:r>
            <a:r>
              <a:rPr lang="es-VE" sz="1400" dirty="0"/>
              <a:t>, </a:t>
            </a:r>
            <a:r>
              <a:rPr lang="es-VE" sz="1400" dirty="0" err="1"/>
              <a:t>making</a:t>
            </a:r>
            <a:r>
              <a:rPr lang="es-VE" sz="1400" dirty="0"/>
              <a:t> </a:t>
            </a:r>
            <a:r>
              <a:rPr lang="es-VE" sz="1400" dirty="0" err="1"/>
              <a:t>assembly</a:t>
            </a:r>
            <a:r>
              <a:rPr lang="es-VE" sz="1400" dirty="0"/>
              <a:t> </a:t>
            </a:r>
            <a:r>
              <a:rPr lang="es-VE" sz="1400" dirty="0" err="1"/>
              <a:t>lines</a:t>
            </a:r>
            <a:r>
              <a:rPr lang="es-VE" sz="1400" dirty="0"/>
              <a:t> </a:t>
            </a:r>
            <a:r>
              <a:rPr lang="es-VE" sz="1400" dirty="0" err="1"/>
              <a:t>faster</a:t>
            </a:r>
            <a:r>
              <a:rPr lang="es-VE" sz="1400" dirty="0"/>
              <a:t> and more </a:t>
            </a:r>
            <a:r>
              <a:rPr lang="es-VE" sz="1400" dirty="0" err="1"/>
              <a:t>efficient</a:t>
            </a:r>
            <a:r>
              <a:rPr lang="es-VE" sz="1400" dirty="0"/>
              <a:t>.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Montserrat Light" panose="00000400000000000000" pitchFamily="2" charset="0"/>
              <a:cs typeface="Segoe UI Light" panose="020B0502040204020203" pitchFamily="34" charset="0"/>
            </a:endParaRPr>
          </a:p>
        </p:txBody>
      </p:sp>
      <p:grpSp>
        <p:nvGrpSpPr>
          <p:cNvPr id="17" name="Grupo 16"/>
          <p:cNvGrpSpPr/>
          <p:nvPr/>
        </p:nvGrpSpPr>
        <p:grpSpPr>
          <a:xfrm>
            <a:off x="7411838" y="1731423"/>
            <a:ext cx="1456974" cy="1472582"/>
            <a:chOff x="8643672" y="2353132"/>
            <a:chExt cx="1456974" cy="1472582"/>
          </a:xfrm>
        </p:grpSpPr>
        <p:sp>
          <p:nvSpPr>
            <p:cNvPr id="104" name="Oval 103">
              <a:extLst>
                <a:ext uri="{FF2B5EF4-FFF2-40B4-BE49-F238E27FC236}">
                  <a16:creationId xmlns:a16="http://schemas.microsoft.com/office/drawing/2014/main" id="{A6455303-B5B6-0A14-8034-B2634C06058F}"/>
                </a:ext>
              </a:extLst>
            </p:cNvPr>
            <p:cNvSpPr/>
            <p:nvPr/>
          </p:nvSpPr>
          <p:spPr>
            <a:xfrm>
              <a:off x="8807914" y="2525180"/>
              <a:ext cx="1128488" cy="11284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93700" dist="228600" dir="6840000" algn="t" rotWithShape="0">
                <a:prstClr val="black">
                  <a:alpha val="1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" name="Block Arc 104">
              <a:extLst>
                <a:ext uri="{FF2B5EF4-FFF2-40B4-BE49-F238E27FC236}">
                  <a16:creationId xmlns:a16="http://schemas.microsoft.com/office/drawing/2014/main" id="{2BE52101-5260-2435-2F1A-207FD6FA4071}"/>
                </a:ext>
              </a:extLst>
            </p:cNvPr>
            <p:cNvSpPr/>
            <p:nvPr/>
          </p:nvSpPr>
          <p:spPr>
            <a:xfrm rot="10800000">
              <a:off x="8643672" y="2353132"/>
              <a:ext cx="1456974" cy="1472582"/>
            </a:xfrm>
            <a:prstGeom prst="blockArc">
              <a:avLst>
                <a:gd name="adj1" fmla="val 11364458"/>
                <a:gd name="adj2" fmla="val 20606439"/>
                <a:gd name="adj3" fmla="val 2920"/>
              </a:avLst>
            </a:prstGeom>
            <a:solidFill>
              <a:srgbClr val="DD02F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202" name="Picture 10" descr="robot arm icon. icon related to device, artificial intelligence. line icon  style. simple vector design editable 33357204 Vector Art at Vecteezy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889" r="19887"/>
            <a:stretch/>
          </p:blipFill>
          <p:spPr bwMode="auto">
            <a:xfrm>
              <a:off x="8940164" y="2565247"/>
              <a:ext cx="863987" cy="940786"/>
            </a:xfrm>
            <a:prstGeom prst="ellipse">
              <a:avLst/>
            </a:prstGeom>
            <a:ln w="63500" cap="rnd"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5" name="TextBox 56">
            <a:extLst>
              <a:ext uri="{FF2B5EF4-FFF2-40B4-BE49-F238E27FC236}">
                <a16:creationId xmlns:a16="http://schemas.microsoft.com/office/drawing/2014/main" id="{8E9F9BBF-E9C2-C614-4B7F-E0D3CE88B94D}"/>
              </a:ext>
            </a:extLst>
          </p:cNvPr>
          <p:cNvSpPr txBox="1"/>
          <p:nvPr/>
        </p:nvSpPr>
        <p:spPr>
          <a:xfrm>
            <a:off x="6899028" y="3427201"/>
            <a:ext cx="2452742" cy="41322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cs typeface="Poppins Medium" panose="00000600000000000000" pitchFamily="2" charset="0"/>
              </a:rPr>
              <a:t>Industrial Robotics</a:t>
            </a:r>
          </a:p>
        </p:txBody>
      </p:sp>
    </p:spTree>
    <p:extLst>
      <p:ext uri="{BB962C8B-B14F-4D97-AF65-F5344CB8AC3E}">
        <p14:creationId xmlns:p14="http://schemas.microsoft.com/office/powerpoint/2010/main" val="1268728321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08167B-C89A-D47F-64FC-45503E9568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372322A4-1177-0B0B-12BC-5A95C59F478F}"/>
              </a:ext>
            </a:extLst>
          </p:cNvPr>
          <p:cNvGrpSpPr/>
          <p:nvPr/>
        </p:nvGrpSpPr>
        <p:grpSpPr>
          <a:xfrm>
            <a:off x="339769" y="217506"/>
            <a:ext cx="1832368" cy="461665"/>
            <a:chOff x="342905" y="6473150"/>
            <a:chExt cx="1832368" cy="461665"/>
          </a:xfrm>
        </p:grpSpPr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D622E8C9-5F37-5C65-ABFF-591BF8A7E798}"/>
                </a:ext>
              </a:extLst>
            </p:cNvPr>
            <p:cNvSpPr/>
            <p:nvPr/>
          </p:nvSpPr>
          <p:spPr>
            <a:xfrm>
              <a:off x="359247" y="6484041"/>
              <a:ext cx="1816026" cy="317500"/>
            </a:xfrm>
            <a:prstGeom prst="roundRect">
              <a:avLst>
                <a:gd name="adj" fmla="val 50000"/>
              </a:avLst>
            </a:prstGeom>
            <a:solidFill>
              <a:srgbClr val="21AD8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3D2E3E85-74A1-E68D-1F33-5053C9948E14}"/>
                </a:ext>
              </a:extLst>
            </p:cNvPr>
            <p:cNvSpPr txBox="1"/>
            <p:nvPr/>
          </p:nvSpPr>
          <p:spPr>
            <a:xfrm>
              <a:off x="342905" y="6473150"/>
              <a:ext cx="132397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800" dirty="0">
                  <a:solidFill>
                    <a:schemeClr val="bg1"/>
                  </a:solidFill>
                  <a:ea typeface="Open Sans" panose="020B0606030504020204" pitchFamily="34" charset="0"/>
                  <a:cs typeface="Poppins" panose="00000500000000000000" pitchFamily="50" charset="0"/>
                </a:rPr>
                <a:t>The </a:t>
              </a:r>
              <a:r>
                <a:rPr lang="en-US" sz="800" b="1" dirty="0">
                  <a:solidFill>
                    <a:schemeClr val="bg1"/>
                  </a:solidFill>
                  <a:ea typeface="Open Sans" panose="020B0606030504020204" pitchFamily="34" charset="0"/>
                  <a:cs typeface="Poppins" panose="00000500000000000000" pitchFamily="50" charset="0"/>
                </a:rPr>
                <a:t>Evolution of Computer Vision </a:t>
              </a:r>
              <a:r>
                <a:rPr lang="en-US" sz="700" dirty="0">
                  <a:solidFill>
                    <a:schemeClr val="bg1"/>
                  </a:solidFill>
                  <a:ea typeface="Open Sans" panose="020B0606030504020204" pitchFamily="34" charset="0"/>
                  <a:cs typeface="Poppins" panose="00000500000000000000" pitchFamily="50" charset="0"/>
                </a:rPr>
                <a:t>1970s – 1980s</a:t>
              </a:r>
            </a:p>
            <a:p>
              <a:pPr algn="r"/>
              <a:endParaRPr lang="en-US" sz="800" b="1" dirty="0">
                <a:solidFill>
                  <a:schemeClr val="bg1"/>
                </a:solidFill>
                <a:ea typeface="Open Sans" panose="020B0606030504020204" pitchFamily="34" charset="0"/>
                <a:cs typeface="Poppins" panose="00000500000000000000" pitchFamily="50" charset="0"/>
              </a:endParaRPr>
            </a:p>
          </p:txBody>
        </p: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72CEFE7C-EA20-BEBE-CB39-7C7F094B2DD5}"/>
                </a:ext>
              </a:extLst>
            </p:cNvPr>
            <p:cNvSpPr/>
            <p:nvPr/>
          </p:nvSpPr>
          <p:spPr>
            <a:xfrm>
              <a:off x="1653778" y="6484041"/>
              <a:ext cx="521495" cy="31750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99000">
                  <a:srgbClr val="21AD84"/>
                </a:gs>
                <a:gs pos="52000">
                  <a:srgbClr val="7030A0">
                    <a:alpha val="79000"/>
                  </a:srgbClr>
                </a:gs>
                <a:gs pos="0">
                  <a:srgbClr val="DD02F8">
                    <a:alpha val="68000"/>
                  </a:srgbClr>
                </a:gs>
              </a:gsLst>
              <a:lin ang="10800000" scaled="1"/>
              <a:tileRect/>
            </a:gra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17587A-3DC2-4ED5-31C8-EBC5DDA9ED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45988" y="207190"/>
            <a:ext cx="712509" cy="365125"/>
          </a:xfrm>
        </p:spPr>
        <p:txBody>
          <a:bodyPr/>
          <a:lstStyle/>
          <a:p>
            <a:fld id="{131BCB46-63A1-4E91-AD39-9DC1D6579614}" type="slidenum">
              <a:rPr lang="en-US" sz="1600" b="1" smtClean="0">
                <a:latin typeface="+mn-lt"/>
              </a:rPr>
              <a:t>9</a:t>
            </a:fld>
            <a:endParaRPr lang="en-US" sz="1600" b="1" dirty="0">
              <a:latin typeface="+mn-lt"/>
            </a:endParaRPr>
          </a:p>
        </p:txBody>
      </p:sp>
      <p:cxnSp>
        <p:nvCxnSpPr>
          <p:cNvPr id="30" name="Straight Connector 2">
            <a:extLst>
              <a:ext uri="{FF2B5EF4-FFF2-40B4-BE49-F238E27FC236}">
                <a16:creationId xmlns:a16="http://schemas.microsoft.com/office/drawing/2014/main" id="{49620C60-7D39-3E8B-07A2-6708A02BB64E}"/>
              </a:ext>
            </a:extLst>
          </p:cNvPr>
          <p:cNvCxnSpPr>
            <a:cxnSpLocks/>
          </p:cNvCxnSpPr>
          <p:nvPr/>
        </p:nvCxnSpPr>
        <p:spPr>
          <a:xfrm flipV="1">
            <a:off x="2225306" y="387927"/>
            <a:ext cx="8511965" cy="57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itle 11">
            <a:extLst>
              <a:ext uri="{FF2B5EF4-FFF2-40B4-BE49-F238E27FC236}">
                <a16:creationId xmlns:a16="http://schemas.microsoft.com/office/drawing/2014/main" id="{13BCB567-D330-8FD1-1DCF-CC7DC13B6EB4}"/>
              </a:ext>
            </a:extLst>
          </p:cNvPr>
          <p:cNvSpPr txBox="1">
            <a:spLocks/>
          </p:cNvSpPr>
          <p:nvPr/>
        </p:nvSpPr>
        <p:spPr>
          <a:xfrm>
            <a:off x="9530167" y="279282"/>
            <a:ext cx="2395520" cy="220940"/>
          </a:xfrm>
          <a:prstGeom prst="rect">
            <a:avLst/>
          </a:prstGeom>
        </p:spPr>
        <p:txBody>
          <a:bodyPr vert="horz" wrap="square" lIns="91416" tIns="45708" rIns="91416" bIns="45708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800" dirty="0">
                <a:solidFill>
                  <a:schemeClr val="bg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Poppins" panose="00000500000000000000" pitchFamily="50" charset="0"/>
              </a:rPr>
              <a:t>Challenges</a:t>
            </a:r>
          </a:p>
        </p:txBody>
      </p:sp>
      <p:sp>
        <p:nvSpPr>
          <p:cNvPr id="33" name="Oval 6">
            <a:extLst>
              <a:ext uri="{FF2B5EF4-FFF2-40B4-BE49-F238E27FC236}">
                <a16:creationId xmlns:a16="http://schemas.microsoft.com/office/drawing/2014/main" id="{D88647CD-547E-4C10-E40E-1719A48DD074}"/>
              </a:ext>
            </a:extLst>
          </p:cNvPr>
          <p:cNvSpPr>
            <a:spLocks noChangeAspect="1"/>
          </p:cNvSpPr>
          <p:nvPr/>
        </p:nvSpPr>
        <p:spPr>
          <a:xfrm>
            <a:off x="3837709" y="1662610"/>
            <a:ext cx="4516582" cy="4599648"/>
          </a:xfrm>
          <a:prstGeom prst="ellipse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4" name="Rectangle: Rounded Corners 17">
            <a:extLst>
              <a:ext uri="{FF2B5EF4-FFF2-40B4-BE49-F238E27FC236}">
                <a16:creationId xmlns:a16="http://schemas.microsoft.com/office/drawing/2014/main" id="{BD6F4883-95CF-60A6-FD20-36D7BB104C4E}"/>
              </a:ext>
            </a:extLst>
          </p:cNvPr>
          <p:cNvSpPr/>
          <p:nvPr/>
        </p:nvSpPr>
        <p:spPr>
          <a:xfrm>
            <a:off x="539460" y="2368806"/>
            <a:ext cx="2951885" cy="1024186"/>
          </a:xfrm>
          <a:prstGeom prst="roundRect">
            <a:avLst>
              <a:gd name="adj" fmla="val 4393"/>
            </a:avLst>
          </a:prstGeom>
          <a:solidFill>
            <a:srgbClr val="21AD84"/>
          </a:solidFill>
          <a:ln>
            <a:noFill/>
          </a:ln>
          <a:effectLst>
            <a:outerShdw blurRad="1066800" dist="419100" dir="5400000" sx="80000" sy="8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40" name="Rectangle: Rounded Corners 18">
            <a:extLst>
              <a:ext uri="{FF2B5EF4-FFF2-40B4-BE49-F238E27FC236}">
                <a16:creationId xmlns:a16="http://schemas.microsoft.com/office/drawing/2014/main" id="{07157076-7148-DBB7-FA6E-E7FAA7A69F46}"/>
              </a:ext>
            </a:extLst>
          </p:cNvPr>
          <p:cNvSpPr/>
          <p:nvPr/>
        </p:nvSpPr>
        <p:spPr>
          <a:xfrm>
            <a:off x="539460" y="3637324"/>
            <a:ext cx="2951885" cy="1684586"/>
          </a:xfrm>
          <a:prstGeom prst="roundRect">
            <a:avLst>
              <a:gd name="adj" fmla="val 4393"/>
            </a:avLst>
          </a:prstGeom>
          <a:solidFill>
            <a:schemeClr val="bg1"/>
          </a:solidFill>
          <a:ln>
            <a:noFill/>
          </a:ln>
          <a:effectLst>
            <a:outerShdw blurRad="1066800" dist="419100" dir="5400000" sx="80000" sy="8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42" name="Rectangle 21">
            <a:extLst>
              <a:ext uri="{FF2B5EF4-FFF2-40B4-BE49-F238E27FC236}">
                <a16:creationId xmlns:a16="http://schemas.microsoft.com/office/drawing/2014/main" id="{F8463557-6599-D31F-D60B-13B826116697}"/>
              </a:ext>
            </a:extLst>
          </p:cNvPr>
          <p:cNvSpPr/>
          <p:nvPr/>
        </p:nvSpPr>
        <p:spPr>
          <a:xfrm>
            <a:off x="669303" y="2523455"/>
            <a:ext cx="2707829" cy="7335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500"/>
              </a:lnSpc>
            </a:pPr>
            <a:r>
              <a:rPr lang="en-US" sz="2400" b="1" dirty="0">
                <a:solidFill>
                  <a:schemeClr val="bg1"/>
                </a:solidFill>
                <a:cs typeface="Segoe UI Light" panose="020B0502040204020203" pitchFamily="34" charset="0"/>
              </a:rPr>
              <a:t>Technical </a:t>
            </a:r>
          </a:p>
          <a:p>
            <a:pPr algn="ctr">
              <a:lnSpc>
                <a:spcPts val="2500"/>
              </a:lnSpc>
            </a:pPr>
            <a:r>
              <a:rPr lang="en-US" sz="2400" b="1" dirty="0">
                <a:solidFill>
                  <a:schemeClr val="bg1"/>
                </a:solidFill>
                <a:cs typeface="Segoe UI Light" panose="020B0502040204020203" pitchFamily="34" charset="0"/>
              </a:rPr>
              <a:t>Challenges</a:t>
            </a:r>
          </a:p>
        </p:txBody>
      </p:sp>
      <p:sp>
        <p:nvSpPr>
          <p:cNvPr id="43" name="Rectangle 23">
            <a:extLst>
              <a:ext uri="{FF2B5EF4-FFF2-40B4-BE49-F238E27FC236}">
                <a16:creationId xmlns:a16="http://schemas.microsoft.com/office/drawing/2014/main" id="{DA9B0C3A-DB8C-36D8-A0EA-190C471FC1DF}"/>
              </a:ext>
            </a:extLst>
          </p:cNvPr>
          <p:cNvSpPr/>
          <p:nvPr/>
        </p:nvSpPr>
        <p:spPr>
          <a:xfrm>
            <a:off x="730825" y="3878041"/>
            <a:ext cx="2656727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Despite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progress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,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early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computer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vision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systems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faced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challenges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such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as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poor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image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resolution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,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lighting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conditions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, and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computational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limitations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.</a:t>
            </a:r>
            <a:endParaRPr lang="en-US" sz="1400" dirty="0">
              <a:solidFill>
                <a:schemeClr val="bg2">
                  <a:lumMod val="25000"/>
                </a:schemeClr>
              </a:solidFill>
              <a:cs typeface="Segoe UI Light" panose="020B0502040204020203" pitchFamily="34" charset="0"/>
            </a:endParaRPr>
          </a:p>
        </p:txBody>
      </p:sp>
      <p:sp>
        <p:nvSpPr>
          <p:cNvPr id="44" name="Rectangle: Rounded Corners 26">
            <a:extLst>
              <a:ext uri="{FF2B5EF4-FFF2-40B4-BE49-F238E27FC236}">
                <a16:creationId xmlns:a16="http://schemas.microsoft.com/office/drawing/2014/main" id="{E366BF09-3B74-5E5F-C0C9-2A5B516219D0}"/>
              </a:ext>
            </a:extLst>
          </p:cNvPr>
          <p:cNvSpPr/>
          <p:nvPr/>
        </p:nvSpPr>
        <p:spPr>
          <a:xfrm>
            <a:off x="8700655" y="2368806"/>
            <a:ext cx="2942433" cy="1024186"/>
          </a:xfrm>
          <a:prstGeom prst="roundRect">
            <a:avLst>
              <a:gd name="adj" fmla="val 4393"/>
            </a:avLst>
          </a:prstGeom>
          <a:solidFill>
            <a:srgbClr val="4C53B8"/>
          </a:solidFill>
          <a:ln>
            <a:noFill/>
          </a:ln>
          <a:effectLst>
            <a:outerShdw blurRad="1066800" dist="419100" dir="5400000" sx="80000" sy="8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46" name="Title 11">
            <a:extLst>
              <a:ext uri="{FF2B5EF4-FFF2-40B4-BE49-F238E27FC236}">
                <a16:creationId xmlns:a16="http://schemas.microsoft.com/office/drawing/2014/main" id="{97C0FB2F-F877-B2F0-BBBD-2BDFE04C5D9D}"/>
              </a:ext>
            </a:extLst>
          </p:cNvPr>
          <p:cNvSpPr txBox="1">
            <a:spLocks/>
          </p:cNvSpPr>
          <p:nvPr/>
        </p:nvSpPr>
        <p:spPr>
          <a:xfrm>
            <a:off x="4270639" y="580745"/>
            <a:ext cx="3695557" cy="1202542"/>
          </a:xfrm>
          <a:prstGeom prst="rect">
            <a:avLst/>
          </a:prstGeom>
        </p:spPr>
        <p:txBody>
          <a:bodyPr vert="horz" wrap="square" lIns="91416" tIns="45708" rIns="91416" bIns="45708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3500"/>
              </a:lnSpc>
            </a:pPr>
            <a:r>
              <a:rPr lang="en-US" sz="3200" b="1" dirty="0">
                <a:latin typeface="+mn-lt"/>
                <a:ea typeface="Roboto" panose="02000000000000000000" pitchFamily="2" charset="0"/>
                <a:cs typeface="Poppins" panose="00000500000000000000" pitchFamily="50" charset="0"/>
              </a:rPr>
              <a:t>CHALLENGES IN THE </a:t>
            </a:r>
            <a:r>
              <a:rPr lang="en-US" sz="3200" dirty="0">
                <a:latin typeface="+mn-lt"/>
                <a:ea typeface="Roboto" panose="02000000000000000000" pitchFamily="2" charset="0"/>
                <a:cs typeface="Poppins" panose="00000500000000000000" pitchFamily="50" charset="0"/>
              </a:rPr>
              <a:t>1970s – 1980s</a:t>
            </a:r>
          </a:p>
        </p:txBody>
      </p:sp>
      <p:sp>
        <p:nvSpPr>
          <p:cNvPr id="47" name="Rectangle: Rounded Corners 18">
            <a:extLst>
              <a:ext uri="{FF2B5EF4-FFF2-40B4-BE49-F238E27FC236}">
                <a16:creationId xmlns:a16="http://schemas.microsoft.com/office/drawing/2014/main" id="{07157076-7148-DBB7-FA6E-E7FAA7A69F46}"/>
              </a:ext>
            </a:extLst>
          </p:cNvPr>
          <p:cNvSpPr/>
          <p:nvPr/>
        </p:nvSpPr>
        <p:spPr>
          <a:xfrm>
            <a:off x="8700655" y="3637324"/>
            <a:ext cx="2951885" cy="1684586"/>
          </a:xfrm>
          <a:prstGeom prst="roundRect">
            <a:avLst>
              <a:gd name="adj" fmla="val 4393"/>
            </a:avLst>
          </a:prstGeom>
          <a:solidFill>
            <a:schemeClr val="bg1"/>
          </a:solidFill>
          <a:ln>
            <a:noFill/>
          </a:ln>
          <a:effectLst>
            <a:outerShdw blurRad="1066800" dist="419100" dir="5400000" sx="80000" sy="8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48" name="Rectangle 23">
            <a:extLst>
              <a:ext uri="{FF2B5EF4-FFF2-40B4-BE49-F238E27FC236}">
                <a16:creationId xmlns:a16="http://schemas.microsoft.com/office/drawing/2014/main" id="{DA9B0C3A-DB8C-36D8-A0EA-190C471FC1DF}"/>
              </a:ext>
            </a:extLst>
          </p:cNvPr>
          <p:cNvSpPr/>
          <p:nvPr/>
        </p:nvSpPr>
        <p:spPr>
          <a:xfrm>
            <a:off x="8892020" y="3878041"/>
            <a:ext cx="2656727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Researchers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worked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on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techniques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to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normalize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lighting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and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improve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the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processing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power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needed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to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handle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more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complex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VE" sz="1400" dirty="0" err="1">
                <a:solidFill>
                  <a:schemeClr val="bg2">
                    <a:lumMod val="25000"/>
                  </a:schemeClr>
                </a:solidFill>
              </a:rPr>
              <a:t>tasks</a:t>
            </a:r>
            <a:r>
              <a:rPr lang="es-VE" sz="1400" dirty="0">
                <a:solidFill>
                  <a:schemeClr val="bg2">
                    <a:lumMod val="25000"/>
                  </a:schemeClr>
                </a:solidFill>
              </a:rPr>
              <a:t>.</a:t>
            </a:r>
            <a:endParaRPr lang="en-US" sz="1400" dirty="0">
              <a:solidFill>
                <a:schemeClr val="bg2">
                  <a:lumMod val="25000"/>
                </a:schemeClr>
              </a:solidFill>
              <a:cs typeface="Segoe UI Light" panose="020B0502040204020203" pitchFamily="34" charset="0"/>
            </a:endParaRPr>
          </a:p>
        </p:txBody>
      </p:sp>
      <p:sp>
        <p:nvSpPr>
          <p:cNvPr id="50" name="Rectangle 21">
            <a:extLst>
              <a:ext uri="{FF2B5EF4-FFF2-40B4-BE49-F238E27FC236}">
                <a16:creationId xmlns:a16="http://schemas.microsoft.com/office/drawing/2014/main" id="{F8463557-6599-D31F-D60B-13B826116697}"/>
              </a:ext>
            </a:extLst>
          </p:cNvPr>
          <p:cNvSpPr/>
          <p:nvPr/>
        </p:nvSpPr>
        <p:spPr>
          <a:xfrm>
            <a:off x="8811817" y="2508942"/>
            <a:ext cx="2707829" cy="7335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500"/>
              </a:lnSpc>
            </a:pPr>
            <a:r>
              <a:rPr lang="en-US" sz="2400" b="1" dirty="0">
                <a:solidFill>
                  <a:schemeClr val="bg1"/>
                </a:solidFill>
                <a:cs typeface="Segoe UI Light" panose="020B0502040204020203" pitchFamily="34" charset="0"/>
              </a:rPr>
              <a:t>Breakthrough Solutions</a:t>
            </a:r>
          </a:p>
        </p:txBody>
      </p:sp>
      <p:pic>
        <p:nvPicPr>
          <p:cNvPr id="56" name="Marcador de posición de imagen 1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4" t="3372" r="4001" b="3370"/>
          <a:stretch/>
        </p:blipFill>
        <p:spPr>
          <a:xfrm>
            <a:off x="3998360" y="1864794"/>
            <a:ext cx="4195280" cy="4195280"/>
          </a:xfrm>
          <a:prstGeom prst="ellipse">
            <a:avLst/>
          </a:prstGeom>
          <a:ln w="63500" cap="rnd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471817923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11</TotalTime>
  <Words>597</Words>
  <Application>Microsoft Office PowerPoint</Application>
  <PresentationFormat>Widescreen</PresentationFormat>
  <Paragraphs>109</Paragraphs>
  <Slides>13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5" baseType="lpstr">
      <vt:lpstr>Arial</vt:lpstr>
      <vt:lpstr>Calibri</vt:lpstr>
      <vt:lpstr>Montserrat</vt:lpstr>
      <vt:lpstr>Montserrat Light</vt:lpstr>
      <vt:lpstr>Open Sans</vt:lpstr>
      <vt:lpstr>Open Sans SemiBold</vt:lpstr>
      <vt:lpstr>Poppins</vt:lpstr>
      <vt:lpstr>Poppins Medium</vt:lpstr>
      <vt:lpstr>Poppins SemiBold</vt:lpstr>
      <vt:lpstr>Roboto</vt:lpstr>
      <vt:lpstr>Segoe UI Light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surya aji utama</dc:creator>
  <cp:lastModifiedBy>ruben dario valenzuela colina</cp:lastModifiedBy>
  <cp:revision>885</cp:revision>
  <dcterms:created xsi:type="dcterms:W3CDTF">2024-11-01T15:07:13Z</dcterms:created>
  <dcterms:modified xsi:type="dcterms:W3CDTF">2025-01-18T17:13:06Z</dcterms:modified>
</cp:coreProperties>
</file>